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5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6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7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8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tags/tag44.xml" ContentType="application/vnd.openxmlformats-officedocument.presentationml.tags+xml"/>
  <Override PartName="/ppt/notesSlides/notesSlide1.xml" ContentType="application/vnd.openxmlformats-officedocument.presentationml.notesSlide+xml"/>
  <Override PartName="/ppt/tags/tag4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46.xml" ContentType="application/vnd.openxmlformats-officedocument.presentationml.tags+xml"/>
  <Override PartName="/ppt/notesSlides/notesSlide4.xml" ContentType="application/vnd.openxmlformats-officedocument.presentationml.notesSlide+xml"/>
  <Override PartName="/ppt/tags/tag47.xml" ContentType="application/vnd.openxmlformats-officedocument.presentationml.tags+xml"/>
  <Override PartName="/ppt/notesSlides/notesSlide5.xml" ContentType="application/vnd.openxmlformats-officedocument.presentationml.notesSlide+xml"/>
  <Override PartName="/ppt/tags/tag48.xml" ContentType="application/vnd.openxmlformats-officedocument.presentationml.tags+xml"/>
  <Override PartName="/ppt/notesSlides/notesSlide6.xml" ContentType="application/vnd.openxmlformats-officedocument.presentationml.notesSlide+xml"/>
  <Override PartName="/ppt/tags/tag49.xml" ContentType="application/vnd.openxmlformats-officedocument.presentationml.tags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4"/>
    <p:sldMasterId id="2147483666" r:id="rId5"/>
    <p:sldMasterId id="2147483694" r:id="rId6"/>
    <p:sldMasterId id="2147483730" r:id="rId7"/>
    <p:sldMasterId id="2147483737" r:id="rId8"/>
    <p:sldMasterId id="2147483743" r:id="rId9"/>
    <p:sldMasterId id="2147483756" r:id="rId10"/>
    <p:sldMasterId id="2147483762" r:id="rId11"/>
  </p:sldMasterIdLst>
  <p:notesMasterIdLst>
    <p:notesMasterId r:id="rId19"/>
  </p:notesMasterIdLst>
  <p:handoutMasterIdLst>
    <p:handoutMasterId r:id="rId20"/>
  </p:handoutMasterIdLst>
  <p:sldIdLst>
    <p:sldId id="256" r:id="rId12"/>
    <p:sldId id="2147471968" r:id="rId13"/>
    <p:sldId id="266" r:id="rId14"/>
    <p:sldId id="2147482320" r:id="rId15"/>
    <p:sldId id="2147471970" r:id="rId16"/>
    <p:sldId id="2147482321" r:id="rId17"/>
    <p:sldId id="258" r:id="rId18"/>
  </p:sldIdLst>
  <p:sldSz cx="20104100" cy="11309350"/>
  <p:notesSz cx="6797675" cy="9926638"/>
  <p:custDataLst>
    <p:tags r:id="rId21"/>
  </p:custDataLst>
  <p:defaultTextStyle>
    <a:defPPr>
      <a:defRPr kern="0"/>
    </a:def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2F4048"/>
    <a:srgbClr val="F1F1F1"/>
    <a:srgbClr val="E1E6E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0A1B5D5-9B99-4C35-A422-299274C87663}" styleName="Style moyen 1 - Accentuation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8D230F3-CF80-4859-8CE7-A43EE81993B5}" styleName="Style léger 1 - Accentuation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46F890A9-2807-4EBB-B81D-B2AA78EC7F39}" styleName="Style foncé 2 - Accentuation 5/Accentuation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A488322-F2BA-4B5B-9748-0D474271808F}" styleName="Style moyen 3 - Accentuation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5189" autoAdjust="0"/>
    <p:restoredTop sz="66385" autoAdjust="0"/>
  </p:normalViewPr>
  <p:slideViewPr>
    <p:cSldViewPr snapToGrid="0">
      <p:cViewPr varScale="1">
        <p:scale>
          <a:sx n="30" d="100"/>
          <a:sy n="30" d="100"/>
        </p:scale>
        <p:origin x="924" y="28"/>
      </p:cViewPr>
      <p:guideLst>
        <p:guide orient="horz" pos="2880"/>
        <p:guide pos="216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11" d="100"/>
          <a:sy n="111" d="100"/>
        </p:scale>
        <p:origin x="7908" y="12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rattiger, Lynn-GMGE" userId="b93115dd-6472-4237-a135-02e7bc3e2bca" providerId="ADAL" clId="{A339BFD1-CEE8-4CFC-903F-8E37F730BB65}"/>
    <pc:docChg chg="modSld">
      <pc:chgData name="Krattiger, Lynn-GMGE" userId="b93115dd-6472-4237-a135-02e7bc3e2bca" providerId="ADAL" clId="{A339BFD1-CEE8-4CFC-903F-8E37F730BB65}" dt="2025-11-19T08:18:48.844" v="5" actId="6549"/>
      <pc:docMkLst>
        <pc:docMk/>
      </pc:docMkLst>
      <pc:sldChg chg="modNotesTx">
        <pc:chgData name="Krattiger, Lynn-GMGE" userId="b93115dd-6472-4237-a135-02e7bc3e2bca" providerId="ADAL" clId="{A339BFD1-CEE8-4CFC-903F-8E37F730BB65}" dt="2025-11-19T08:18:48.844" v="5" actId="6549"/>
        <pc:sldMkLst>
          <pc:docMk/>
          <pc:sldMk cId="3203716473" sldId="258"/>
        </pc:sldMkLst>
      </pc:sldChg>
      <pc:sldChg chg="modNotesTx">
        <pc:chgData name="Krattiger, Lynn-GMGE" userId="b93115dd-6472-4237-a135-02e7bc3e2bca" providerId="ADAL" clId="{A339BFD1-CEE8-4CFC-903F-8E37F730BB65}" dt="2025-11-19T08:17:59.809" v="1" actId="6549"/>
        <pc:sldMkLst>
          <pc:docMk/>
          <pc:sldMk cId="0" sldId="266"/>
        </pc:sldMkLst>
      </pc:sldChg>
      <pc:sldChg chg="modNotesTx">
        <pc:chgData name="Krattiger, Lynn-GMGE" userId="b93115dd-6472-4237-a135-02e7bc3e2bca" providerId="ADAL" clId="{A339BFD1-CEE8-4CFC-903F-8E37F730BB65}" dt="2025-11-19T08:17:50.193" v="0" actId="6549"/>
        <pc:sldMkLst>
          <pc:docMk/>
          <pc:sldMk cId="72972722" sldId="2147471968"/>
        </pc:sldMkLst>
      </pc:sldChg>
      <pc:sldChg chg="modNotesTx">
        <pc:chgData name="Krattiger, Lynn-GMGE" userId="b93115dd-6472-4237-a135-02e7bc3e2bca" providerId="ADAL" clId="{A339BFD1-CEE8-4CFC-903F-8E37F730BB65}" dt="2025-11-19T08:18:23.813" v="3" actId="6549"/>
        <pc:sldMkLst>
          <pc:docMk/>
          <pc:sldMk cId="3791230864" sldId="2147471970"/>
        </pc:sldMkLst>
      </pc:sldChg>
      <pc:sldChg chg="modNotesTx">
        <pc:chgData name="Krattiger, Lynn-GMGE" userId="b93115dd-6472-4237-a135-02e7bc3e2bca" providerId="ADAL" clId="{A339BFD1-CEE8-4CFC-903F-8E37F730BB65}" dt="2025-11-19T08:18:11.442" v="2" actId="6549"/>
        <pc:sldMkLst>
          <pc:docMk/>
          <pc:sldMk cId="2612842738" sldId="2147482320"/>
        </pc:sldMkLst>
      </pc:sldChg>
      <pc:sldChg chg="modNotesTx">
        <pc:chgData name="Krattiger, Lynn-GMGE" userId="b93115dd-6472-4237-a135-02e7bc3e2bca" providerId="ADAL" clId="{A339BFD1-CEE8-4CFC-903F-8E37F730BB65}" dt="2025-11-19T08:18:34.167" v="4" actId="6549"/>
        <pc:sldMkLst>
          <pc:docMk/>
          <pc:sldMk cId="1686848841" sldId="2147482321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C17C36A5-A485-8A29-1866-0BFC93A81AF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CH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AD196E59-579C-C55B-B12D-EEE9BBA19BF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50D5461-0E8D-48D3-8179-04C5C9A6029B}" type="datetimeFigureOut">
              <a:rPr lang="fr-CH" smtClean="0"/>
              <a:t>19.11.2025</a:t>
            </a:fld>
            <a:endParaRPr lang="fr-CH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F0C14B29-3F95-4DAC-DFB8-B0F5D0ABB43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CH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618AFAD-7C01-B75B-DA1B-885C575530B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7252AB-2099-45E9-9BB7-8645A17C07AE}" type="slidenum">
              <a:rPr lang="fr-CH" smtClean="0"/>
              <a:t>‹N°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1233765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45802" cy="497446"/>
          </a:xfrm>
          <a:prstGeom prst="rect">
            <a:avLst/>
          </a:prstGeom>
        </p:spPr>
        <p:txBody>
          <a:bodyPr vert="horz" lIns="48668" tIns="24335" rIns="48668" bIns="24335" rtlCol="0"/>
          <a:lstStyle>
            <a:lvl1pPr algn="l">
              <a:defRPr sz="6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264" y="2"/>
            <a:ext cx="2945802" cy="497446"/>
          </a:xfrm>
          <a:prstGeom prst="rect">
            <a:avLst/>
          </a:prstGeom>
        </p:spPr>
        <p:txBody>
          <a:bodyPr vert="horz" lIns="48668" tIns="24335" rIns="48668" bIns="24335" rtlCol="0"/>
          <a:lstStyle>
            <a:lvl1pPr algn="r">
              <a:defRPr sz="600"/>
            </a:lvl1pPr>
          </a:lstStyle>
          <a:p>
            <a:fld id="{DA0896F2-DEEF-A147-8D81-14A5B7257BF9}" type="datetimeFigureOut">
              <a:rPr lang="de-DE" smtClean="0"/>
              <a:t>19.11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56300" cy="33512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48668" tIns="24335" rIns="48668" bIns="24335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554" y="4776606"/>
            <a:ext cx="5438569" cy="3909901"/>
          </a:xfrm>
          <a:prstGeom prst="rect">
            <a:avLst/>
          </a:prstGeom>
        </p:spPr>
        <p:txBody>
          <a:bodyPr vert="horz" lIns="48668" tIns="24335" rIns="48668" bIns="24335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9194"/>
            <a:ext cx="2945802" cy="497446"/>
          </a:xfrm>
          <a:prstGeom prst="rect">
            <a:avLst/>
          </a:prstGeom>
        </p:spPr>
        <p:txBody>
          <a:bodyPr vert="horz" lIns="48668" tIns="24335" rIns="48668" bIns="24335" rtlCol="0" anchor="b"/>
          <a:lstStyle>
            <a:lvl1pPr algn="l">
              <a:defRPr sz="6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264" y="9429194"/>
            <a:ext cx="2945802" cy="497446"/>
          </a:xfrm>
          <a:prstGeom prst="rect">
            <a:avLst/>
          </a:prstGeom>
        </p:spPr>
        <p:txBody>
          <a:bodyPr vert="horz" lIns="48668" tIns="24335" rIns="48668" bIns="24335" rtlCol="0" anchor="b"/>
          <a:lstStyle>
            <a:lvl1pPr algn="r">
              <a:defRPr sz="600"/>
            </a:lvl1pPr>
          </a:lstStyle>
          <a:p>
            <a:fld id="{34206509-E26D-B445-8A43-43A7BE6FB990}" type="slidenum">
              <a:rPr lang="de-DE" smtClean="0"/>
              <a:t>‹N°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939647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206509-E26D-B445-8A43-43A7BE6FB990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907152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E685D21-FF57-4D33-ABC6-69E7D127CE20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5984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fr-CH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206509-E26D-B445-8A43-43A7BE6FB990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019954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8B8E1A-B6D9-00D1-0E35-D747E9B1E5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7B6EC97D-2E44-E01A-8AD5-3FE76E18F9F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1263C692-75E1-C3D6-F6B7-CAB68633995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138BD439-9681-729D-7ADA-43B225CC6A3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206509-E26D-B445-8A43-43A7BE6FB990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686357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3DD1B0-7AE3-35F2-2B5A-9C663C811D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E84AB627-A005-DFCC-21B9-6ED7ECF93BC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23BD2C75-6161-C268-E8BA-4452CAF625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FAB9B1F2-206A-03B9-F3ED-2113B76E34C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206509-E26D-B445-8A43-43A7BE6FB990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387984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6A480C-6CAD-4A6D-57FD-BCF4C993C5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91082AF2-9B21-28D6-941C-CDFE7531DB4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2B2DF34A-00A8-E85E-29C0-F05AD7F5E2D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2F5F7445-2E13-75CB-EB3A-CD5B418BE03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206509-E26D-B445-8A43-43A7BE6FB990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0785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DB9D1D-E61C-D905-F78E-1D4D810EF9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226E1A2D-6335-F835-3F3C-04334F0483F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E25B1D70-4BCA-6D01-43DD-9C1D40CE47D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B6FA6E9F-1A3B-39FA-A9F0-669A78B2D57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206509-E26D-B445-8A43-43A7BE6FB990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790446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4" Type="http://schemas.openxmlformats.org/officeDocument/2006/relationships/image" Target="../media/image7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7.bin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.xml"/><Relationship Id="rId4" Type="http://schemas.openxmlformats.org/officeDocument/2006/relationships/image" Target="../media/image10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.xml"/><Relationship Id="rId5" Type="http://schemas.openxmlformats.org/officeDocument/2006/relationships/image" Target="../media/image9.png"/><Relationship Id="rId4" Type="http://schemas.openxmlformats.org/officeDocument/2006/relationships/image" Target="../media/image10.emf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oleObject" Target="../embeddings/oleObject11.bin"/><Relationship Id="rId7" Type="http://schemas.openxmlformats.org/officeDocument/2006/relationships/image" Target="../media/image14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1.jpeg"/><Relationship Id="rId9" Type="http://schemas.openxmlformats.org/officeDocument/2006/relationships/image" Target="../media/image16.jpe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8.xml"/><Relationship Id="rId4" Type="http://schemas.openxmlformats.org/officeDocument/2006/relationships/image" Target="../media/image10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9.xml"/><Relationship Id="rId5" Type="http://schemas.openxmlformats.org/officeDocument/2006/relationships/image" Target="../media/image17.jpeg"/><Relationship Id="rId4" Type="http://schemas.openxmlformats.org/officeDocument/2006/relationships/image" Target="../media/image10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.xml"/><Relationship Id="rId4" Type="http://schemas.openxmlformats.org/officeDocument/2006/relationships/image" Target="../media/image10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.xml"/><Relationship Id="rId5" Type="http://schemas.openxmlformats.org/officeDocument/2006/relationships/image" Target="../media/image9.png"/><Relationship Id="rId4" Type="http://schemas.openxmlformats.org/officeDocument/2006/relationships/image" Target="../media/image10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4.xml"/><Relationship Id="rId5" Type="http://schemas.openxmlformats.org/officeDocument/2006/relationships/image" Target="../media/image18.png"/><Relationship Id="rId4" Type="http://schemas.openxmlformats.org/officeDocument/2006/relationships/image" Target="../media/image10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5.xml"/><Relationship Id="rId5" Type="http://schemas.openxmlformats.org/officeDocument/2006/relationships/image" Target="../media/image17.jpeg"/><Relationship Id="rId4" Type="http://schemas.openxmlformats.org/officeDocument/2006/relationships/image" Target="../media/image10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8.xml"/><Relationship Id="rId4" Type="http://schemas.openxmlformats.org/officeDocument/2006/relationships/image" Target="../media/image10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9.xml"/><Relationship Id="rId5" Type="http://schemas.openxmlformats.org/officeDocument/2006/relationships/image" Target="../media/image9.png"/><Relationship Id="rId4" Type="http://schemas.openxmlformats.org/officeDocument/2006/relationships/image" Target="../media/image10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0.xml"/><Relationship Id="rId5" Type="http://schemas.openxmlformats.org/officeDocument/2006/relationships/image" Target="../media/image18.png"/><Relationship Id="rId4" Type="http://schemas.openxmlformats.org/officeDocument/2006/relationships/image" Target="../media/image10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1.xml"/><Relationship Id="rId5" Type="http://schemas.openxmlformats.org/officeDocument/2006/relationships/image" Target="../media/image17.jpeg"/><Relationship Id="rId4" Type="http://schemas.openxmlformats.org/officeDocument/2006/relationships/image" Target="../media/image10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4.xml"/><Relationship Id="rId4" Type="http://schemas.openxmlformats.org/officeDocument/2006/relationships/image" Target="../media/image10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5.xml"/><Relationship Id="rId5" Type="http://schemas.openxmlformats.org/officeDocument/2006/relationships/image" Target="../media/image9.png"/><Relationship Id="rId4" Type="http://schemas.openxmlformats.org/officeDocument/2006/relationships/image" Target="../media/image10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6.xml"/><Relationship Id="rId5" Type="http://schemas.openxmlformats.org/officeDocument/2006/relationships/image" Target="../media/image17.jpeg"/><Relationship Id="rId4" Type="http://schemas.openxmlformats.org/officeDocument/2006/relationships/image" Target="../media/image10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9.xml"/><Relationship Id="rId4" Type="http://schemas.openxmlformats.org/officeDocument/2006/relationships/image" Target="../media/image10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0.xml"/><Relationship Id="rId5" Type="http://schemas.openxmlformats.org/officeDocument/2006/relationships/image" Target="../media/image9.png"/><Relationship Id="rId4" Type="http://schemas.openxmlformats.org/officeDocument/2006/relationships/image" Target="../media/image10.emf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oleObject" Target="../embeddings/oleObject11.bin"/><Relationship Id="rId7" Type="http://schemas.openxmlformats.org/officeDocument/2006/relationships/image" Target="../media/image14.jpe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1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1.jpeg"/><Relationship Id="rId9" Type="http://schemas.openxmlformats.org/officeDocument/2006/relationships/image" Target="../media/image16.jpe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2.xml"/><Relationship Id="rId4" Type="http://schemas.openxmlformats.org/officeDocument/2006/relationships/image" Target="../media/image10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3.xml"/><Relationship Id="rId5" Type="http://schemas.openxmlformats.org/officeDocument/2006/relationships/image" Target="../media/image17.jpeg"/><Relationship Id="rId4" Type="http://schemas.openxmlformats.org/officeDocument/2006/relationships/image" Target="../media/image10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507807" y="3505898"/>
            <a:ext cx="17088486" cy="237496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100" b="1" i="0">
                <a:solidFill>
                  <a:srgbClr val="2F4048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3015615" y="6333236"/>
            <a:ext cx="14072870" cy="28273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964652-C38F-4F13-B4B8-751D0525E5DD}" type="datetime1">
              <a:rPr lang="en-US" smtClean="0"/>
              <a:t>11/19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650"/>
              </a:lnSpc>
            </a:pPr>
            <a:fld id="{81D60167-4931-47E6-BA6A-407CBD079E47}" type="slidenum">
              <a:rPr spc="-25" dirty="0"/>
              <a:t>‹N°›</a:t>
            </a:fld>
            <a:endParaRPr spc="-25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_Titelfolie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Rectangle 4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3179546"/>
              </p:ext>
            </p:extLst>
          </p:nvPr>
        </p:nvGraphicFramePr>
        <p:xfrm>
          <a:off x="2" y="0"/>
          <a:ext cx="322182" cy="2617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0" imgH="0" progId="TCLayout.ActiveDocument.1">
                  <p:embed/>
                </p:oleObj>
              </mc:Choice>
              <mc:Fallback>
                <p:oleObj name="Diapositive think-cell" r:id="rId3" imgW="0" imgH="0" progId="TCLayout.ActiveDocument.1">
                  <p:embed/>
                  <p:pic>
                    <p:nvPicPr>
                      <p:cNvPr id="6" name="Rectangle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322182" cy="2617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/>
          <p:cNvSpPr/>
          <p:nvPr userDrawn="1"/>
        </p:nvSpPr>
        <p:spPr bwMode="auto">
          <a:xfrm>
            <a:off x="0" y="10085213"/>
            <a:ext cx="20104100" cy="1224137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2638"/>
          </a:p>
        </p:txBody>
      </p:sp>
      <p:sp>
        <p:nvSpPr>
          <p:cNvPr id="20" name="Rechteck 19"/>
          <p:cNvSpPr/>
          <p:nvPr userDrawn="1"/>
        </p:nvSpPr>
        <p:spPr bwMode="auto">
          <a:xfrm>
            <a:off x="15356090" y="10085213"/>
            <a:ext cx="4194721" cy="1224137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2638"/>
          </a:p>
        </p:txBody>
      </p:sp>
      <p:pic>
        <p:nvPicPr>
          <p:cNvPr id="19" name="Picture 21"/>
          <p:cNvPicPr>
            <a:picLocks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879591" y="10232411"/>
            <a:ext cx="3196562" cy="898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0" name="Textplatzhalter 2"/>
          <p:cNvSpPr>
            <a:spLocks noGrp="1"/>
          </p:cNvSpPr>
          <p:nvPr>
            <p:ph type="body" sz="quarter" idx="16" hasCustomPrompt="1"/>
          </p:nvPr>
        </p:nvSpPr>
        <p:spPr>
          <a:xfrm>
            <a:off x="0" y="2795437"/>
            <a:ext cx="11023686" cy="8960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288000" tIns="25200" rIns="108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FontTx/>
              <a:buNone/>
              <a:defRPr lang="de-CH" sz="5277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Titel wenn 2- zeilig (sonst löschen)</a:t>
            </a:r>
          </a:p>
        </p:txBody>
      </p:sp>
      <p:sp>
        <p:nvSpPr>
          <p:cNvPr id="33" name="Textplatzhalter 2"/>
          <p:cNvSpPr>
            <a:spLocks noGrp="1"/>
          </p:cNvSpPr>
          <p:nvPr>
            <p:ph type="body" sz="quarter" idx="22" hasCustomPrompt="1"/>
          </p:nvPr>
        </p:nvSpPr>
        <p:spPr>
          <a:xfrm>
            <a:off x="1613" y="4720916"/>
            <a:ext cx="5186952" cy="55840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288000" tIns="25200" rIns="72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FontTx/>
              <a:buNone/>
              <a:defRPr lang="de-CH" sz="3298" baseline="0" dirty="0"/>
            </a:lvl1pPr>
          </a:lstStyle>
          <a:p>
            <a:pPr lvl="0"/>
            <a:r>
              <a:rPr lang="de-CH"/>
              <a:t>Vorname Name, Funktion</a:t>
            </a:r>
          </a:p>
        </p:txBody>
      </p:sp>
      <p:sp>
        <p:nvSpPr>
          <p:cNvPr id="34" name="Textplatzhalter 2"/>
          <p:cNvSpPr>
            <a:spLocks noGrp="1"/>
          </p:cNvSpPr>
          <p:nvPr>
            <p:ph type="body" sz="quarter" idx="23" hasCustomPrompt="1"/>
          </p:nvPr>
        </p:nvSpPr>
        <p:spPr>
          <a:xfrm>
            <a:off x="1609" y="5375392"/>
            <a:ext cx="2929924" cy="55840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288000" tIns="25200" rIns="72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FontTx/>
              <a:buNone/>
              <a:defRPr lang="de-CH" sz="3298" baseline="0" dirty="0"/>
            </a:lvl1pPr>
          </a:lstStyle>
          <a:p>
            <a:pPr lvl="0"/>
            <a:r>
              <a:rPr lang="de-CH"/>
              <a:t>Unternehmen</a:t>
            </a:r>
          </a:p>
        </p:txBody>
      </p:sp>
      <p:sp>
        <p:nvSpPr>
          <p:cNvPr id="35" name="Textplatzhalter 2"/>
          <p:cNvSpPr>
            <a:spLocks noGrp="1"/>
          </p:cNvSpPr>
          <p:nvPr>
            <p:ph type="body" sz="quarter" idx="24" hasCustomPrompt="1"/>
          </p:nvPr>
        </p:nvSpPr>
        <p:spPr>
          <a:xfrm>
            <a:off x="1609" y="6027250"/>
            <a:ext cx="4335757" cy="55840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288000" tIns="25200" rIns="72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FontTx/>
              <a:buNone/>
              <a:defRPr lang="de-CH" sz="3298" baseline="0" dirty="0"/>
            </a:lvl1pPr>
          </a:lstStyle>
          <a:p>
            <a:pPr lvl="0"/>
            <a:r>
              <a:rPr lang="de-CH"/>
              <a:t>Anlass,  Ort &amp; Datum</a:t>
            </a:r>
          </a:p>
        </p:txBody>
      </p:sp>
      <p:sp>
        <p:nvSpPr>
          <p:cNvPr id="36" name="Textplatzhalter 2"/>
          <p:cNvSpPr>
            <a:spLocks noGrp="1"/>
          </p:cNvSpPr>
          <p:nvPr>
            <p:ph type="body" sz="quarter" idx="25" hasCustomPrompt="1"/>
          </p:nvPr>
        </p:nvSpPr>
        <p:spPr>
          <a:xfrm>
            <a:off x="1612" y="3768901"/>
            <a:ext cx="6007171" cy="86297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288000" tIns="25200" rIns="108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FontTx/>
              <a:buNone/>
              <a:defRPr lang="de-CH" sz="5277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Titel wenn 1- zeilig</a:t>
            </a:r>
          </a:p>
        </p:txBody>
      </p:sp>
    </p:spTree>
    <p:extLst>
      <p:ext uri="{BB962C8B-B14F-4D97-AF65-F5344CB8AC3E}">
        <p14:creationId xmlns:p14="http://schemas.microsoft.com/office/powerpoint/2010/main" val="5238571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_Titel_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3010853"/>
              </p:ext>
            </p:extLst>
          </p:nvPr>
        </p:nvGraphicFramePr>
        <p:xfrm>
          <a:off x="3226" y="2625"/>
          <a:ext cx="3220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226" y="2625"/>
                        <a:ext cx="3220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261772" cy="261791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buClr>
                <a:schemeClr val="accent1"/>
              </a:buClr>
              <a:buFontTx/>
              <a:buNone/>
            </a:pPr>
            <a:endParaRPr lang="de-DE" sz="3958" b="0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5265" y="1226082"/>
            <a:ext cx="1461989" cy="478648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36000" rIns="36000" bIns="36000" anchor="ctr" anchorCtr="0">
            <a:sp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Untertitel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solidFill>
            <a:schemeClr val="tx2"/>
          </a:solidFill>
        </p:spPr>
        <p:txBody>
          <a:bodyPr rIns="36000"/>
          <a:lstStyle/>
          <a:p>
            <a:r>
              <a:rPr lang="fr-FR"/>
              <a:t>Modifiez le style du titre</a:t>
            </a:r>
            <a:endParaRPr lang="de-CH"/>
          </a:p>
        </p:txBody>
      </p:sp>
      <p:sp>
        <p:nvSpPr>
          <p:cNvPr id="11" name="Eingekerbter Richtungspfeil 2"/>
          <p:cNvSpPr/>
          <p:nvPr userDrawn="1"/>
        </p:nvSpPr>
        <p:spPr bwMode="auto">
          <a:xfrm>
            <a:off x="183535" y="10907721"/>
            <a:ext cx="146126" cy="237467"/>
          </a:xfrm>
          <a:prstGeom prst="chevron">
            <a:avLst>
              <a:gd name="adj" fmla="val 60698"/>
            </a:avLst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2638"/>
          </a:p>
        </p:txBody>
      </p:sp>
      <p:pic>
        <p:nvPicPr>
          <p:cNvPr id="16" name="Picture 135"/>
          <p:cNvPicPr>
            <a:picLocks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155" y="10932353"/>
            <a:ext cx="1007538" cy="182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Date Placeholder 5"/>
          <p:cNvSpPr>
            <a:spLocks noGrp="1"/>
          </p:cNvSpPr>
          <p:nvPr>
            <p:ph type="dt" sz="half" idx="2"/>
          </p:nvPr>
        </p:nvSpPr>
        <p:spPr>
          <a:xfrm>
            <a:off x="17889397" y="10950867"/>
            <a:ext cx="1397797" cy="25123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1633" b="0" i="0" u="none" strike="noStrike" cap="none" spc="0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fld id="{EEF25230-73A6-4A47-9309-F056B2B39C9C}" type="datetime1">
              <a:rPr lang="en-US" smtClean="0"/>
              <a:t>11/19/2025</a:t>
            </a:fld>
            <a:endParaRPr lang="de-CH"/>
          </a:p>
        </p:txBody>
      </p:sp>
      <p:sp>
        <p:nvSpPr>
          <p:cNvPr id="21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8971528" y="10950866"/>
            <a:ext cx="579578" cy="2512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r" defTabSz="15078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GB" sz="1319" b="0" i="0" u="none" strike="noStrike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pPr>
              <a:defRPr/>
            </a:pPr>
            <a:r>
              <a:rPr lang="de-CH"/>
              <a:t>| </a:t>
            </a:r>
            <a:fld id="{E81B8D95-AA0C-433D-B79A-00E7CF97219C}" type="slidenum">
              <a:rPr lang="de-CH" sz="1633" smtClean="0"/>
              <a:pPr>
                <a:defRPr/>
              </a:pPr>
              <a:t>‹N°›</a:t>
            </a:fld>
            <a:endParaRPr lang="de-CH" sz="1633"/>
          </a:p>
        </p:txBody>
      </p:sp>
      <p:sp>
        <p:nvSpPr>
          <p:cNvPr id="2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205245" y="10953159"/>
            <a:ext cx="12055153" cy="25123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1633" b="0" i="0" u="none" strike="noStrike" cap="none" spc="0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1836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_Titel_Untertitel_Inhaltsplatzspeic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de-CH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 hasCustomPrompt="1"/>
          </p:nvPr>
        </p:nvSpPr>
        <p:spPr>
          <a:xfrm>
            <a:off x="554154" y="1856096"/>
            <a:ext cx="18992577" cy="2030185"/>
          </a:xfrm>
          <a:prstGeom prst="rect">
            <a:avLst/>
          </a:prstGeom>
        </p:spPr>
        <p:txBody>
          <a:bodyPr/>
          <a:lstStyle>
            <a:lvl1pPr marL="298428" indent="-298428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de-CH"/>
              <a:t>Text durch Klicken hinzufügen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5265" y="1226082"/>
            <a:ext cx="1461989" cy="478648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36000" rIns="36000" bIns="36000" anchor="ctr" anchorCtr="0">
            <a:sp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Untertitel</a:t>
            </a:r>
          </a:p>
        </p:txBody>
      </p:sp>
      <p:sp>
        <p:nvSpPr>
          <p:cNvPr id="6" name="Fußzeilenplatzhalter 24"/>
          <p:cNvSpPr txBox="1">
            <a:spLocks/>
          </p:cNvSpPr>
          <p:nvPr userDrawn="1"/>
        </p:nvSpPr>
        <p:spPr>
          <a:xfrm>
            <a:off x="2375580" y="10950866"/>
            <a:ext cx="12584401" cy="20300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898989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15078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1319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0" name="Eingekerbter Richtungspfeil 2"/>
          <p:cNvSpPr/>
          <p:nvPr userDrawn="1"/>
        </p:nvSpPr>
        <p:spPr bwMode="auto">
          <a:xfrm>
            <a:off x="183535" y="10907721"/>
            <a:ext cx="146126" cy="237467"/>
          </a:xfrm>
          <a:prstGeom prst="chevron">
            <a:avLst>
              <a:gd name="adj" fmla="val 60698"/>
            </a:avLst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2638"/>
          </a:p>
        </p:txBody>
      </p:sp>
      <p:pic>
        <p:nvPicPr>
          <p:cNvPr id="14" name="Picture 135"/>
          <p:cNvPicPr>
            <a:picLocks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155" y="10932353"/>
            <a:ext cx="1007538" cy="182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Date Placeholder 5"/>
          <p:cNvSpPr>
            <a:spLocks noGrp="1"/>
          </p:cNvSpPr>
          <p:nvPr>
            <p:ph type="dt" sz="half" idx="2"/>
          </p:nvPr>
        </p:nvSpPr>
        <p:spPr>
          <a:xfrm>
            <a:off x="17889397" y="10950867"/>
            <a:ext cx="1397797" cy="25123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1633" b="0" i="0" u="none" strike="noStrike" cap="none" spc="0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fld id="{D63A7363-C1B7-4373-992D-0EC4DFD68669}" type="datetime1">
              <a:rPr lang="en-US" smtClean="0"/>
              <a:t>11/19/2025</a:t>
            </a:fld>
            <a:endParaRPr lang="de-CH"/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8971528" y="10950866"/>
            <a:ext cx="579578" cy="2512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r" defTabSz="15078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GB" sz="1319" b="0" i="0" u="none" strike="noStrike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pPr>
              <a:defRPr/>
            </a:pPr>
            <a:r>
              <a:rPr lang="de-CH"/>
              <a:t>| </a:t>
            </a:r>
            <a:fld id="{E81B8D95-AA0C-433D-B79A-00E7CF97219C}" type="slidenum">
              <a:rPr lang="de-CH" sz="1633" smtClean="0"/>
              <a:pPr>
                <a:defRPr/>
              </a:pPr>
              <a:t>‹N°›</a:t>
            </a:fld>
            <a:endParaRPr lang="de-CH" sz="1633"/>
          </a:p>
        </p:txBody>
      </p:sp>
      <p:sp>
        <p:nvSpPr>
          <p:cNvPr id="1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205245" y="10953159"/>
            <a:ext cx="12055153" cy="25123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1633" b="0" i="0" u="none" strike="noStrike" cap="none" spc="0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836483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_Titel_Untertitel_Inhaltsplatzspeic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B33ED23-0356-219C-BF61-DD78CD059A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8882666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484" imgH="486" progId="TCLayout.ActiveDocument.1">
                  <p:embed/>
                </p:oleObj>
              </mc:Choice>
              <mc:Fallback>
                <p:oleObj name="Diapositive think-cell" r:id="rId3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B33ED23-0356-219C-BF61-DD78CD059A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0" hasCustomPrompt="1"/>
          </p:nvPr>
        </p:nvSpPr>
        <p:spPr>
          <a:xfrm>
            <a:off x="554154" y="1856096"/>
            <a:ext cx="18992577" cy="2030185"/>
          </a:xfrm>
          <a:prstGeom prst="rect">
            <a:avLst/>
          </a:prstGeom>
        </p:spPr>
        <p:txBody>
          <a:bodyPr/>
          <a:lstStyle>
            <a:lvl1pPr marL="298428" indent="-298428" rtl="0">
              <a:buFont typeface="Arial" panose="020B0604020202020204" pitchFamily="34" charset="0"/>
              <a:buChar char="•"/>
              <a:defRPr/>
            </a:lvl1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FR" err="1"/>
              <a:t>Text</a:t>
            </a:r>
            <a:r>
              <a:rPr lang="fr-FR"/>
              <a:t> </a:t>
            </a:r>
            <a:r>
              <a:rPr lang="fr-FR" err="1"/>
              <a:t>durch</a:t>
            </a:r>
            <a:r>
              <a:rPr lang="fr-FR"/>
              <a:t> </a:t>
            </a:r>
            <a:r>
              <a:rPr lang="fr-FR" err="1"/>
              <a:t>Klicken</a:t>
            </a:r>
            <a:r>
              <a:rPr lang="fr-FR"/>
              <a:t> </a:t>
            </a:r>
            <a:r>
              <a:rPr lang="fr-FR" err="1"/>
              <a:t>hinzufügen</a:t>
            </a:r>
            <a:endParaRPr lang="fr-FR"/>
          </a:p>
          <a:p>
            <a:pPr lvl="2"/>
            <a:r>
              <a:rPr lang="fr-FR" err="1"/>
              <a:t>Zwei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  <a:p>
            <a:pPr lvl="3"/>
            <a:r>
              <a:rPr lang="fr-FR" err="1"/>
              <a:t>Drit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  <a:p>
            <a:pPr lvl="4"/>
            <a:r>
              <a:rPr lang="fr-FR" err="1"/>
              <a:t>Vier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5265" y="1226082"/>
            <a:ext cx="1461989" cy="478648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36000" rIns="36000" bIns="36000" anchor="ctr" anchorCtr="0">
            <a:spAutoFit/>
          </a:bodyPr>
          <a:lstStyle>
            <a:lvl1pPr marL="0" indent="0" rtl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err="1"/>
              <a:t>Untertitel</a:t>
            </a:r>
            <a:endParaRPr lang="fr-FR"/>
          </a:p>
        </p:txBody>
      </p:sp>
      <p:sp>
        <p:nvSpPr>
          <p:cNvPr id="6" name="Fußzeilenplatzhalter 24"/>
          <p:cNvSpPr txBox="1">
            <a:spLocks/>
          </p:cNvSpPr>
          <p:nvPr userDrawn="1"/>
        </p:nvSpPr>
        <p:spPr>
          <a:xfrm>
            <a:off x="2375580" y="10950866"/>
            <a:ext cx="12584401" cy="20300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898989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15078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319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0" name="Eingekerbter Richtungspfeil 2"/>
          <p:cNvSpPr/>
          <p:nvPr userDrawn="1"/>
        </p:nvSpPr>
        <p:spPr bwMode="auto">
          <a:xfrm>
            <a:off x="183535" y="10907721"/>
            <a:ext cx="146126" cy="237467"/>
          </a:xfrm>
          <a:prstGeom prst="chevron">
            <a:avLst>
              <a:gd name="adj" fmla="val 60698"/>
            </a:avLst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vert="horz" lIns="0" tIns="0" rIns="0" bIns="0" rtlCol="0" anchor="ctr" anchorCtr="1"/>
          <a:lstStyle/>
          <a:p>
            <a:pPr algn="ctr" rtl="0" eaLnBrk="0" hangingPunct="0"/>
            <a:endParaRPr lang="fr-FR" sz="2638"/>
          </a:p>
        </p:txBody>
      </p:sp>
      <p:sp>
        <p:nvSpPr>
          <p:cNvPr id="15" name="Date Placeholder 5"/>
          <p:cNvSpPr>
            <a:spLocks noGrp="1"/>
          </p:cNvSpPr>
          <p:nvPr>
            <p:ph type="dt" sz="half" idx="2"/>
          </p:nvPr>
        </p:nvSpPr>
        <p:spPr>
          <a:xfrm>
            <a:off x="17889397" y="10950867"/>
            <a:ext cx="1397797" cy="25123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rtl="0">
              <a:defRPr kumimoji="0" lang="en-GB" sz="1633" b="0" i="0" u="none" strike="noStrike" cap="none" spc="0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fld id="{B1172C21-D39C-449F-A3C8-FFCDF82DEF7E}" type="datetime1">
              <a:rPr lang="en-US" smtClean="0"/>
              <a:t>11/19/2025</a:t>
            </a:fld>
            <a:endParaRPr lang="fr-FR"/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8971528" y="10950866"/>
            <a:ext cx="579578" cy="2512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r" defTabSz="15078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GB" sz="1319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defRPr>
            </a:lvl1pPr>
          </a:lstStyle>
          <a:p>
            <a:pPr>
              <a:defRPr/>
            </a:pPr>
            <a:r>
              <a:rPr lang="fr-FR"/>
              <a:t>| </a:t>
            </a:r>
            <a:fld id="{E81B8D95-AA0C-433D-B79A-00E7CF97219C}" type="slidenum">
              <a:rPr lang="fr-FR" sz="1633" smtClean="0"/>
              <a:pPr>
                <a:defRPr/>
              </a:pPr>
              <a:t>‹N°›</a:t>
            </a:fld>
            <a:endParaRPr lang="fr-FR" sz="1633"/>
          </a:p>
        </p:txBody>
      </p:sp>
    </p:spTree>
    <p:extLst>
      <p:ext uri="{BB962C8B-B14F-4D97-AF65-F5344CB8AC3E}">
        <p14:creationId xmlns:p14="http://schemas.microsoft.com/office/powerpoint/2010/main" val="31722586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_Titel_Untertitel_Inhaltsplatzspeic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F614375-A36E-E4F5-74F1-BBC14D7EA9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0506819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484" imgH="486" progId="TCLayout.ActiveDocument.1">
                  <p:embed/>
                </p:oleObj>
              </mc:Choice>
              <mc:Fallback>
                <p:oleObj name="Diapositive think-cell" r:id="rId3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F614375-A36E-E4F5-74F1-BBC14D7EA9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0" hasCustomPrompt="1"/>
          </p:nvPr>
        </p:nvSpPr>
        <p:spPr>
          <a:xfrm>
            <a:off x="554154" y="1856096"/>
            <a:ext cx="18992577" cy="2030185"/>
          </a:xfrm>
          <a:prstGeom prst="rect">
            <a:avLst/>
          </a:prstGeom>
        </p:spPr>
        <p:txBody>
          <a:bodyPr/>
          <a:lstStyle>
            <a:lvl1pPr marL="298428" indent="-298428" rtl="0">
              <a:buFont typeface="Arial" panose="020B0604020202020204" pitchFamily="34" charset="0"/>
              <a:buChar char="•"/>
              <a:defRPr/>
            </a:lvl1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FR" err="1"/>
              <a:t>Text</a:t>
            </a:r>
            <a:r>
              <a:rPr lang="fr-FR"/>
              <a:t> </a:t>
            </a:r>
            <a:r>
              <a:rPr lang="fr-FR" err="1"/>
              <a:t>durch</a:t>
            </a:r>
            <a:r>
              <a:rPr lang="fr-FR"/>
              <a:t> </a:t>
            </a:r>
            <a:r>
              <a:rPr lang="fr-FR" err="1"/>
              <a:t>Klicken</a:t>
            </a:r>
            <a:r>
              <a:rPr lang="fr-FR"/>
              <a:t> </a:t>
            </a:r>
            <a:r>
              <a:rPr lang="fr-FR" err="1"/>
              <a:t>hinzufügen</a:t>
            </a:r>
            <a:endParaRPr lang="fr-FR"/>
          </a:p>
          <a:p>
            <a:pPr lvl="2"/>
            <a:r>
              <a:rPr lang="fr-FR" err="1"/>
              <a:t>Zwei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  <a:p>
            <a:pPr lvl="3"/>
            <a:r>
              <a:rPr lang="fr-FR" err="1"/>
              <a:t>Drit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  <a:p>
            <a:pPr lvl="4"/>
            <a:r>
              <a:rPr lang="fr-FR" err="1"/>
              <a:t>Vier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5265" y="1226082"/>
            <a:ext cx="1461989" cy="478648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36000" rIns="36000" bIns="36000" anchor="ctr" anchorCtr="0">
            <a:spAutoFit/>
          </a:bodyPr>
          <a:lstStyle>
            <a:lvl1pPr marL="0" indent="0" rtl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err="1"/>
              <a:t>Untertitel</a:t>
            </a:r>
            <a:endParaRPr lang="fr-FR"/>
          </a:p>
        </p:txBody>
      </p:sp>
      <p:sp>
        <p:nvSpPr>
          <p:cNvPr id="6" name="Fußzeilenplatzhalter 24"/>
          <p:cNvSpPr txBox="1">
            <a:spLocks/>
          </p:cNvSpPr>
          <p:nvPr userDrawn="1"/>
        </p:nvSpPr>
        <p:spPr>
          <a:xfrm>
            <a:off x="2375580" y="10950866"/>
            <a:ext cx="12584401" cy="20300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898989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15078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319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0" name="Eingekerbter Richtungspfeil 2"/>
          <p:cNvSpPr/>
          <p:nvPr userDrawn="1"/>
        </p:nvSpPr>
        <p:spPr bwMode="auto">
          <a:xfrm>
            <a:off x="183535" y="10907721"/>
            <a:ext cx="146126" cy="237467"/>
          </a:xfrm>
          <a:prstGeom prst="chevron">
            <a:avLst>
              <a:gd name="adj" fmla="val 60698"/>
            </a:avLst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vert="horz" lIns="0" tIns="0" rIns="0" bIns="0" rtlCol="0" anchor="ctr" anchorCtr="1"/>
          <a:lstStyle/>
          <a:p>
            <a:pPr algn="ctr" rtl="0" eaLnBrk="0" hangingPunct="0"/>
            <a:endParaRPr lang="fr-FR" sz="2638"/>
          </a:p>
        </p:txBody>
      </p:sp>
      <p:pic>
        <p:nvPicPr>
          <p:cNvPr id="14" name="Picture 135"/>
          <p:cNvPicPr>
            <a:picLocks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155" y="10932353"/>
            <a:ext cx="1007538" cy="182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Date Placeholder 5"/>
          <p:cNvSpPr>
            <a:spLocks noGrp="1"/>
          </p:cNvSpPr>
          <p:nvPr>
            <p:ph type="dt" sz="half" idx="2"/>
          </p:nvPr>
        </p:nvSpPr>
        <p:spPr>
          <a:xfrm>
            <a:off x="17889397" y="10950867"/>
            <a:ext cx="1397797" cy="25123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rtl="0">
              <a:defRPr kumimoji="0" lang="en-GB" sz="1633" b="0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defRPr>
            </a:lvl1pPr>
          </a:lstStyle>
          <a:p>
            <a:fld id="{818708DC-F8DA-4EBB-B8EA-A1540C7AF164}" type="datetime1">
              <a:rPr lang="en-US" smtClean="0"/>
              <a:t>11/19/2025</a:t>
            </a:fld>
            <a:endParaRPr lang="fr-FR"/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8971528" y="10950866"/>
            <a:ext cx="579578" cy="2512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r" defTabSz="15078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GB" sz="1319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defRPr>
            </a:lvl1pPr>
          </a:lstStyle>
          <a:p>
            <a:pPr>
              <a:defRPr/>
            </a:pPr>
            <a:r>
              <a:rPr lang="fr-FR"/>
              <a:t>| </a:t>
            </a:r>
            <a:fld id="{E81B8D95-AA0C-433D-B79A-00E7CF97219C}" type="slidenum">
              <a:rPr lang="fr-FR" sz="1633" smtClean="0"/>
              <a:pPr>
                <a:defRPr/>
              </a:pPr>
              <a:t>‹N°›</a:t>
            </a:fld>
            <a:endParaRPr lang="fr-FR" sz="1633"/>
          </a:p>
        </p:txBody>
      </p:sp>
    </p:spTree>
    <p:extLst>
      <p:ext uri="{BB962C8B-B14F-4D97-AF65-F5344CB8AC3E}">
        <p14:creationId xmlns:p14="http://schemas.microsoft.com/office/powerpoint/2010/main" val="416451797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ge de ga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Rectangle 4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8750881"/>
              </p:ext>
            </p:extLst>
          </p:nvPr>
        </p:nvGraphicFramePr>
        <p:xfrm>
          <a:off x="2" y="0"/>
          <a:ext cx="322182" cy="2617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0" imgH="0" progId="TCLayout.ActiveDocument.1">
                  <p:embed/>
                </p:oleObj>
              </mc:Choice>
              <mc:Fallback>
                <p:oleObj name="Diapositive think-cell" r:id="rId3" imgW="0" imgH="0" progId="TCLayout.ActiveDocument.1">
                  <p:embed/>
                  <p:pic>
                    <p:nvPicPr>
                      <p:cNvPr id="6" name="Rectangle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322182" cy="2617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7" name="Groupe 16">
            <a:extLst>
              <a:ext uri="{FF2B5EF4-FFF2-40B4-BE49-F238E27FC236}">
                <a16:creationId xmlns:a16="http://schemas.microsoft.com/office/drawing/2014/main" id="{54639045-3AE4-1D18-2500-9E4AE9D23B18}"/>
              </a:ext>
            </a:extLst>
          </p:cNvPr>
          <p:cNvGrpSpPr/>
          <p:nvPr userDrawn="1"/>
        </p:nvGrpSpPr>
        <p:grpSpPr>
          <a:xfrm>
            <a:off x="0" y="0"/>
            <a:ext cx="5520713" cy="11309350"/>
            <a:chOff x="822658" y="0"/>
            <a:chExt cx="3348000" cy="6858000"/>
          </a:xfrm>
        </p:grpSpPr>
        <p:pic>
          <p:nvPicPr>
            <p:cNvPr id="2" name="Image 1" descr="Une image contenant texte&#10;&#10;Description générée automatiquement">
              <a:extLst>
                <a:ext uri="{FF2B5EF4-FFF2-40B4-BE49-F238E27FC236}">
                  <a16:creationId xmlns:a16="http://schemas.microsoft.com/office/drawing/2014/main" id="{B6D1B36D-5173-EB18-DACF-D51099DB26D7}"/>
                </a:ext>
              </a:extLst>
            </p:cNvPr>
            <p:cNvPicPr preferRelativeResize="0">
              <a:picLocks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2658" y="2286000"/>
              <a:ext cx="3348000" cy="2286000"/>
            </a:xfrm>
            <a:prstGeom prst="rect">
              <a:avLst/>
            </a:prstGeom>
          </p:spPr>
        </p:pic>
        <p:pic>
          <p:nvPicPr>
            <p:cNvPr id="3" name="Image 2" descr="Une image contenant texte, personne, debout, vert&#10;&#10;Description générée automatiquement">
              <a:extLst>
                <a:ext uri="{FF2B5EF4-FFF2-40B4-BE49-F238E27FC236}">
                  <a16:creationId xmlns:a16="http://schemas.microsoft.com/office/drawing/2014/main" id="{C06EAF7E-EBEE-2EE8-3BC8-F113844B2CE0}"/>
                </a:ext>
              </a:extLst>
            </p:cNvPr>
            <p:cNvPicPr preferRelativeResize="0">
              <a:picLocks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2658" y="0"/>
              <a:ext cx="3348000" cy="2286000"/>
            </a:xfrm>
            <a:prstGeom prst="rect">
              <a:avLst/>
            </a:prstGeom>
          </p:spPr>
        </p:pic>
        <p:pic>
          <p:nvPicPr>
            <p:cNvPr id="5" name="Image 4" descr="Une image contenant texte, bâtiment&#10;&#10;Description générée automatiquement">
              <a:extLst>
                <a:ext uri="{FF2B5EF4-FFF2-40B4-BE49-F238E27FC236}">
                  <a16:creationId xmlns:a16="http://schemas.microsoft.com/office/drawing/2014/main" id="{82BFE146-18DB-2EE1-3696-B9A52DF372FA}"/>
                </a:ext>
              </a:extLst>
            </p:cNvPr>
            <p:cNvPicPr preferRelativeResize="0">
              <a:picLocks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169" b="11269"/>
            <a:stretch/>
          </p:blipFill>
          <p:spPr>
            <a:xfrm>
              <a:off x="822658" y="4572000"/>
              <a:ext cx="3348000" cy="2286000"/>
            </a:xfrm>
            <a:prstGeom prst="rect">
              <a:avLst/>
            </a:prstGeom>
          </p:spPr>
        </p:pic>
      </p:grpSp>
      <p:grpSp>
        <p:nvGrpSpPr>
          <p:cNvPr id="18" name="Groupe 17">
            <a:extLst>
              <a:ext uri="{FF2B5EF4-FFF2-40B4-BE49-F238E27FC236}">
                <a16:creationId xmlns:a16="http://schemas.microsoft.com/office/drawing/2014/main" id="{83D2477C-D189-6E97-C382-06427F55D0C6}"/>
              </a:ext>
            </a:extLst>
          </p:cNvPr>
          <p:cNvGrpSpPr/>
          <p:nvPr userDrawn="1"/>
        </p:nvGrpSpPr>
        <p:grpSpPr>
          <a:xfrm>
            <a:off x="14583387" y="0"/>
            <a:ext cx="5520713" cy="11309350"/>
            <a:chOff x="8841111" y="0"/>
            <a:chExt cx="3348000" cy="6858000"/>
          </a:xfrm>
        </p:grpSpPr>
        <p:pic>
          <p:nvPicPr>
            <p:cNvPr id="4" name="Image 3" descr="Une image contenant texte, personne&#10;&#10;Description générée automatiquement">
              <a:extLst>
                <a:ext uri="{FF2B5EF4-FFF2-40B4-BE49-F238E27FC236}">
                  <a16:creationId xmlns:a16="http://schemas.microsoft.com/office/drawing/2014/main" id="{8AD92456-9220-0D11-C493-D077DA7A961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41111" y="0"/>
              <a:ext cx="3348000" cy="2286000"/>
            </a:xfrm>
            <a:prstGeom prst="rect">
              <a:avLst/>
            </a:prstGeom>
          </p:spPr>
        </p:pic>
        <p:pic>
          <p:nvPicPr>
            <p:cNvPr id="7" name="Image 6" descr="Une image contenant texte, homme, portable&#10;&#10;Description générée automatiquement">
              <a:extLst>
                <a:ext uri="{FF2B5EF4-FFF2-40B4-BE49-F238E27FC236}">
                  <a16:creationId xmlns:a16="http://schemas.microsoft.com/office/drawing/2014/main" id="{28AC08C2-0DEB-B29B-E793-6A2A19AE988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41111" y="2286000"/>
              <a:ext cx="3348000" cy="2286000"/>
            </a:xfrm>
            <a:prstGeom prst="rect">
              <a:avLst/>
            </a:prstGeom>
          </p:spPr>
        </p:pic>
        <p:pic>
          <p:nvPicPr>
            <p:cNvPr id="8" name="Image 7" descr="Une image contenant texte, personne, intérieur&#10;&#10;Description générée automatiquement">
              <a:extLst>
                <a:ext uri="{FF2B5EF4-FFF2-40B4-BE49-F238E27FC236}">
                  <a16:creationId xmlns:a16="http://schemas.microsoft.com/office/drawing/2014/main" id="{B60874B2-404F-410B-E57D-8AA3A33F787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41111" y="4572000"/>
              <a:ext cx="3348000" cy="2286000"/>
            </a:xfrm>
            <a:prstGeom prst="rect">
              <a:avLst/>
            </a:prstGeom>
          </p:spPr>
        </p:pic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6BEE4203-28EE-3880-05B3-94DA8DDACD3F}"/>
              </a:ext>
            </a:extLst>
          </p:cNvPr>
          <p:cNvSpPr/>
          <p:nvPr userDrawn="1"/>
        </p:nvSpPr>
        <p:spPr bwMode="auto">
          <a:xfrm>
            <a:off x="5520714" y="0"/>
            <a:ext cx="9062673" cy="11309350"/>
          </a:xfrm>
          <a:prstGeom prst="rect">
            <a:avLst/>
          </a:prstGeom>
          <a:solidFill>
            <a:schemeClr val="accent1"/>
          </a:solidFill>
          <a:ln w="12700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59363" tIns="59363" rIns="59363" bIns="5936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98428" marR="0" lvl="0" indent="-298428" algn="ctr" defTabSz="15078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-FR" sz="296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CEF96EB4-A5F1-0CB6-9AAF-E70729E72D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96675" y="1354784"/>
            <a:ext cx="8310750" cy="2185952"/>
          </a:xfrm>
          <a:prstGeom prst="rect">
            <a:avLst/>
          </a:prstGeom>
        </p:spPr>
        <p:txBody>
          <a:bodyPr vert="horz"/>
          <a:lstStyle>
            <a:lvl1pPr algn="ctr" rtl="0">
              <a:defRPr lang="fr-FR" sz="6596" b="1" kern="0" dirty="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</a:lstStyle>
          <a:p>
            <a:pPr marL="0" marR="0" lvl="0" indent="0" algn="ctr" defTabSz="15078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lang="fr-FR" sz="6596" b="1" kern="0">
                <a:solidFill>
                  <a:srgbClr val="FFFFFF"/>
                </a:solidFill>
                <a:latin typeface="Arial"/>
              </a:rPr>
              <a:t>Titre de la présentation</a:t>
            </a:r>
            <a:endParaRPr kumimoji="0" lang="fr-FR" sz="6596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Espace réservé du texte 27">
            <a:extLst>
              <a:ext uri="{FF2B5EF4-FFF2-40B4-BE49-F238E27FC236}">
                <a16:creationId xmlns:a16="http://schemas.microsoft.com/office/drawing/2014/main" id="{34B27EB7-FBCA-4B8B-511D-E7CDFF13163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675" y="4522914"/>
            <a:ext cx="8310750" cy="712400"/>
          </a:xfrm>
          <a:prstGeom prst="rect">
            <a:avLst/>
          </a:prstGeom>
        </p:spPr>
        <p:txBody>
          <a:bodyPr/>
          <a:lstStyle>
            <a:lvl1pPr algn="ctr" rtl="0">
              <a:defRPr lang="fr-FR" sz="3958" b="1" kern="0" dirty="0" smtClean="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algn="ctr">
              <a:defRPr lang="fr-FR" sz="3958" b="1" kern="0" dirty="0" smtClean="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algn="ctr">
              <a:defRPr lang="fr-FR" sz="3958" b="1" kern="0" dirty="0" smtClean="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algn="ctr">
              <a:defRPr lang="fr-FR" sz="3958" b="1" kern="0" dirty="0" smtClean="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algn="ctr">
              <a:defRPr lang="fr-FR" sz="3958" b="1" kern="0" dirty="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Sous-titre</a:t>
            </a:r>
          </a:p>
        </p:txBody>
      </p:sp>
      <p:sp>
        <p:nvSpPr>
          <p:cNvPr id="30" name="Espace réservé du contenu 29">
            <a:extLst>
              <a:ext uri="{FF2B5EF4-FFF2-40B4-BE49-F238E27FC236}">
                <a16:creationId xmlns:a16="http://schemas.microsoft.com/office/drawing/2014/main" id="{FC5E89A2-776E-591F-D3B8-F4E9A312BFE1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5896675" y="9205133"/>
            <a:ext cx="8310750" cy="593667"/>
          </a:xfrm>
          <a:prstGeom prst="rect">
            <a:avLst/>
          </a:prstGeom>
        </p:spPr>
        <p:txBody>
          <a:bodyPr/>
          <a:lstStyle>
            <a:lvl1pPr algn="ctr" rtl="0">
              <a:defRPr kumimoji="0" lang="fr-FR" sz="3298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marL="0" marR="0" lvl="0" indent="0" algn="ctr" defTabSz="15078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lang="fr-FR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1794353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sfoli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A1BAD879-C24E-BA88-FCED-C58BE65548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135690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484" imgH="486" progId="TCLayout.ActiveDocument.1">
                  <p:embed/>
                </p:oleObj>
              </mc:Choice>
              <mc:Fallback>
                <p:oleObj name="Diapositive think-cell" r:id="rId3" imgW="484" imgH="48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BAD879-C24E-BA88-FCED-C58BE65548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57FD85-AC0B-4D14-821D-FE9B94825D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CA3057E-7A4D-4CD2-BB00-EE5418AF8A6E}" type="datetime1">
              <a:rPr lang="en-US" smtClean="0"/>
              <a:t>11/19/2025</a:t>
            </a:fld>
            <a:endParaRPr lang="fr-FR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2010953-3546-4290-BA6D-D7F662A3F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fr-FR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B592DEC-4CF7-48F6-B4FE-D0061E31B7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0A6ABA92-B65E-42F5-BB28-73DA50746AE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39" name="Textplatzhalter 38">
            <a:extLst>
              <a:ext uri="{FF2B5EF4-FFF2-40B4-BE49-F238E27FC236}">
                <a16:creationId xmlns:a16="http://schemas.microsoft.com/office/drawing/2014/main" id="{B68999B6-637B-EE55-3B66-EC308CFDA5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64416" y="413628"/>
            <a:ext cx="16906597" cy="1277526"/>
          </a:xfrm>
        </p:spPr>
        <p:txBody>
          <a:bodyPr lIns="0" tIns="0" rIns="0" anchor="ctr" anchorCtr="0"/>
          <a:lstStyle>
            <a:lvl1pPr marL="0" indent="0" rtl="0">
              <a:spcBef>
                <a:spcPts val="0"/>
              </a:spcBef>
              <a:buNone/>
              <a:defRPr sz="3958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2638" b="1">
                <a:solidFill>
                  <a:schemeClr val="accent1"/>
                </a:solidFill>
              </a:defRPr>
            </a:lvl2pPr>
          </a:lstStyle>
          <a:p>
            <a:pPr lvl="0"/>
            <a:r>
              <a:rPr lang="fr-FR" err="1"/>
              <a:t>Titel</a:t>
            </a:r>
            <a:endParaRPr lang="fr-FR"/>
          </a:p>
          <a:p>
            <a:pPr lvl="1"/>
            <a:r>
              <a:rPr lang="fr-FR" err="1"/>
              <a:t>Untertitel</a:t>
            </a:r>
            <a:endParaRPr lang="fr-FR"/>
          </a:p>
        </p:txBody>
      </p:sp>
      <p:sp>
        <p:nvSpPr>
          <p:cNvPr id="53" name="Textplatzhalter 25">
            <a:extLst>
              <a:ext uri="{FF2B5EF4-FFF2-40B4-BE49-F238E27FC236}">
                <a16:creationId xmlns:a16="http://schemas.microsoft.com/office/drawing/2014/main" id="{89370442-751C-DCEF-0015-26E453880FA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64416" y="1691950"/>
            <a:ext cx="16906595" cy="9201833"/>
          </a:xfrm>
          <a:noFill/>
        </p:spPr>
        <p:txBody>
          <a:bodyPr lIns="0" tIns="72000" rIns="0" bIns="0" numCol="1" spcCol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FR" err="1"/>
              <a:t>Mastertextformat</a:t>
            </a:r>
            <a:r>
              <a:rPr lang="fr-FR"/>
              <a:t> </a:t>
            </a:r>
            <a:r>
              <a:rPr lang="fr-FR" err="1"/>
              <a:t>bearbeiten</a:t>
            </a:r>
            <a:endParaRPr lang="fr-FR"/>
          </a:p>
          <a:p>
            <a:pPr lvl="1"/>
            <a:r>
              <a:rPr lang="fr-FR" err="1"/>
              <a:t>Zwei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  <a:p>
            <a:pPr lvl="2"/>
            <a:r>
              <a:rPr lang="fr-FR" err="1"/>
              <a:t>Drit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  <a:p>
            <a:pPr lvl="3"/>
            <a:r>
              <a:rPr lang="fr-FR" err="1"/>
              <a:t>Vier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  <a:p>
            <a:pPr lvl="4"/>
            <a:r>
              <a:rPr lang="fr-FR" err="1"/>
              <a:t>Fünf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</p:txBody>
      </p:sp>
      <p:cxnSp>
        <p:nvCxnSpPr>
          <p:cNvPr id="23" name="Gerade Verbindung 45">
            <a:extLst>
              <a:ext uri="{FF2B5EF4-FFF2-40B4-BE49-F238E27FC236}">
                <a16:creationId xmlns:a16="http://schemas.microsoft.com/office/drawing/2014/main" id="{25CB8C2C-B663-C4FE-0C22-A6D2F0F4E090}"/>
              </a:ext>
            </a:extLst>
          </p:cNvPr>
          <p:cNvCxnSpPr>
            <a:cxnSpLocks/>
          </p:cNvCxnSpPr>
          <p:nvPr userDrawn="1"/>
        </p:nvCxnSpPr>
        <p:spPr>
          <a:xfrm>
            <a:off x="-109684" y="1693785"/>
            <a:ext cx="0" cy="9201936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39">
            <a:extLst>
              <a:ext uri="{FF2B5EF4-FFF2-40B4-BE49-F238E27FC236}">
                <a16:creationId xmlns:a16="http://schemas.microsoft.com/office/drawing/2014/main" id="{314931F2-870B-7375-0DEE-8DB3548B2A45}"/>
              </a:ext>
            </a:extLst>
          </p:cNvPr>
          <p:cNvCxnSpPr>
            <a:cxnSpLocks/>
          </p:cNvCxnSpPr>
          <p:nvPr userDrawn="1"/>
        </p:nvCxnSpPr>
        <p:spPr>
          <a:xfrm flipH="1">
            <a:off x="-169046" y="1685769"/>
            <a:ext cx="118725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39">
            <a:extLst>
              <a:ext uri="{FF2B5EF4-FFF2-40B4-BE49-F238E27FC236}">
                <a16:creationId xmlns:a16="http://schemas.microsoft.com/office/drawing/2014/main" id="{4297F1F2-DE4A-EDC2-6849-2A71F0E8802E}"/>
              </a:ext>
            </a:extLst>
          </p:cNvPr>
          <p:cNvCxnSpPr>
            <a:cxnSpLocks/>
          </p:cNvCxnSpPr>
          <p:nvPr userDrawn="1"/>
        </p:nvCxnSpPr>
        <p:spPr>
          <a:xfrm flipH="1">
            <a:off x="-169046" y="10893104"/>
            <a:ext cx="118725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feld 25">
            <a:extLst>
              <a:ext uri="{FF2B5EF4-FFF2-40B4-BE49-F238E27FC236}">
                <a16:creationId xmlns:a16="http://schemas.microsoft.com/office/drawing/2014/main" id="{AE0769FF-B30A-495A-C3A1-3BC7C41E94CF}"/>
              </a:ext>
            </a:extLst>
          </p:cNvPr>
          <p:cNvSpPr txBox="1"/>
          <p:nvPr userDrawn="1"/>
        </p:nvSpPr>
        <p:spPr bwMode="auto">
          <a:xfrm rot="16200000">
            <a:off x="-334734" y="6193252"/>
            <a:ext cx="450104" cy="203004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59363" tIns="0" rIns="59363" bIns="0" rtlCol="0">
            <a:spAutoFit/>
          </a:bodyPr>
          <a:lstStyle/>
          <a:p>
            <a:pPr algn="ctr" rtl="0" eaLnBrk="0" hangingPunct="0">
              <a:buClr>
                <a:schemeClr val="tx2"/>
              </a:buClr>
              <a:buSzTx/>
            </a:pPr>
            <a:r>
              <a:rPr lang="fr-FR" sz="1319" b="1">
                <a:solidFill>
                  <a:schemeClr val="tx2"/>
                </a:solidFill>
              </a:rPr>
              <a:t>15.5</a:t>
            </a:r>
            <a:endParaRPr lang="fr-FR" sz="989" b="1">
              <a:solidFill>
                <a:schemeClr val="tx2"/>
              </a:solidFill>
            </a:endParaRPr>
          </a:p>
        </p:txBody>
      </p:sp>
      <p:cxnSp>
        <p:nvCxnSpPr>
          <p:cNvPr id="27" name="Gerade Verbindung 39">
            <a:extLst>
              <a:ext uri="{FF2B5EF4-FFF2-40B4-BE49-F238E27FC236}">
                <a16:creationId xmlns:a16="http://schemas.microsoft.com/office/drawing/2014/main" id="{7A26B24C-9972-C621-5D45-682035891D85}"/>
              </a:ext>
            </a:extLst>
          </p:cNvPr>
          <p:cNvCxnSpPr>
            <a:cxnSpLocks/>
          </p:cNvCxnSpPr>
          <p:nvPr userDrawn="1"/>
        </p:nvCxnSpPr>
        <p:spPr>
          <a:xfrm flipH="1">
            <a:off x="-169046" y="416081"/>
            <a:ext cx="118725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45">
            <a:extLst>
              <a:ext uri="{FF2B5EF4-FFF2-40B4-BE49-F238E27FC236}">
                <a16:creationId xmlns:a16="http://schemas.microsoft.com/office/drawing/2014/main" id="{8ED745F4-C25E-88D7-804F-A7097180BEB0}"/>
              </a:ext>
            </a:extLst>
          </p:cNvPr>
          <p:cNvCxnSpPr>
            <a:cxnSpLocks/>
          </p:cNvCxnSpPr>
          <p:nvPr userDrawn="1"/>
        </p:nvCxnSpPr>
        <p:spPr>
          <a:xfrm>
            <a:off x="-109684" y="416082"/>
            <a:ext cx="0" cy="1277704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5F89DA72-C75E-27DD-BC0D-02B8F976C123}"/>
              </a:ext>
            </a:extLst>
          </p:cNvPr>
          <p:cNvSpPr txBox="1"/>
          <p:nvPr userDrawn="1"/>
        </p:nvSpPr>
        <p:spPr bwMode="auto">
          <a:xfrm rot="16200000">
            <a:off x="-334734" y="953432"/>
            <a:ext cx="450104" cy="203004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59363" tIns="0" rIns="59363" bIns="0" rtlCol="0">
            <a:spAutoFit/>
          </a:bodyPr>
          <a:lstStyle/>
          <a:p>
            <a:pPr algn="ctr" rtl="0" eaLnBrk="0" hangingPunct="0">
              <a:buClr>
                <a:schemeClr val="tx2"/>
              </a:buClr>
              <a:buSzTx/>
            </a:pPr>
            <a:r>
              <a:rPr lang="fr-FR" sz="1319" b="1">
                <a:solidFill>
                  <a:schemeClr val="tx2"/>
                </a:solidFill>
              </a:rPr>
              <a:t>2.15</a:t>
            </a:r>
            <a:endParaRPr lang="fr-FR" sz="989" b="1">
              <a:solidFill>
                <a:schemeClr val="tx2"/>
              </a:solidFill>
            </a:endParaRPr>
          </a:p>
        </p:txBody>
      </p:sp>
      <p:cxnSp>
        <p:nvCxnSpPr>
          <p:cNvPr id="2" name="Gerade Verbindung 45">
            <a:extLst>
              <a:ext uri="{FF2B5EF4-FFF2-40B4-BE49-F238E27FC236}">
                <a16:creationId xmlns:a16="http://schemas.microsoft.com/office/drawing/2014/main" id="{0DFC9992-C783-2F3C-9065-4CCCDA661488}"/>
              </a:ext>
            </a:extLst>
          </p:cNvPr>
          <p:cNvCxnSpPr>
            <a:cxnSpLocks/>
          </p:cNvCxnSpPr>
          <p:nvPr userDrawn="1"/>
        </p:nvCxnSpPr>
        <p:spPr>
          <a:xfrm flipH="1">
            <a:off x="413601" y="11424594"/>
            <a:ext cx="9431651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feld 2">
            <a:extLst>
              <a:ext uri="{FF2B5EF4-FFF2-40B4-BE49-F238E27FC236}">
                <a16:creationId xmlns:a16="http://schemas.microsoft.com/office/drawing/2014/main" id="{5F47FB56-0AEC-1E3B-1555-8DD839CB6916}"/>
              </a:ext>
            </a:extLst>
          </p:cNvPr>
          <p:cNvSpPr txBox="1"/>
          <p:nvPr userDrawn="1"/>
        </p:nvSpPr>
        <p:spPr bwMode="auto">
          <a:xfrm>
            <a:off x="4911393" y="11323086"/>
            <a:ext cx="522997" cy="203004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rtl="0" eaLnBrk="0" hangingPunct="0">
              <a:buClr>
                <a:schemeClr val="tx2"/>
              </a:buClr>
              <a:buSzTx/>
            </a:pPr>
            <a:r>
              <a:rPr lang="fr-FR" sz="1319" b="1">
                <a:solidFill>
                  <a:schemeClr val="tx2"/>
                </a:solidFill>
              </a:rPr>
              <a:t>15.88 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5F8C669-6620-F93B-F2B2-F5DF0DC6F7C8}"/>
              </a:ext>
            </a:extLst>
          </p:cNvPr>
          <p:cNvSpPr txBox="1"/>
          <p:nvPr userDrawn="1"/>
        </p:nvSpPr>
        <p:spPr bwMode="auto">
          <a:xfrm>
            <a:off x="9842633" y="11323085"/>
            <a:ext cx="418835" cy="203004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rtl="0" eaLnBrk="0" hangingPunct="0">
              <a:buClr>
                <a:schemeClr val="tx2"/>
              </a:buClr>
              <a:buSzTx/>
            </a:pPr>
            <a:r>
              <a:rPr lang="fr-FR" sz="1319" b="1">
                <a:solidFill>
                  <a:schemeClr val="tx2"/>
                </a:solidFill>
              </a:rPr>
              <a:t>0.7</a:t>
            </a:r>
          </a:p>
        </p:txBody>
      </p:sp>
      <p:cxnSp>
        <p:nvCxnSpPr>
          <p:cNvPr id="8" name="Gerade Verbindung 39">
            <a:extLst>
              <a:ext uri="{FF2B5EF4-FFF2-40B4-BE49-F238E27FC236}">
                <a16:creationId xmlns:a16="http://schemas.microsoft.com/office/drawing/2014/main" id="{1B3AFD81-3B74-9D20-FEE3-E1D1F87E2236}"/>
              </a:ext>
            </a:extLst>
          </p:cNvPr>
          <p:cNvCxnSpPr>
            <a:cxnSpLocks/>
          </p:cNvCxnSpPr>
          <p:nvPr userDrawn="1"/>
        </p:nvCxnSpPr>
        <p:spPr>
          <a:xfrm flipH="1">
            <a:off x="412288" y="11365227"/>
            <a:ext cx="2" cy="118733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39">
            <a:extLst>
              <a:ext uri="{FF2B5EF4-FFF2-40B4-BE49-F238E27FC236}">
                <a16:creationId xmlns:a16="http://schemas.microsoft.com/office/drawing/2014/main" id="{322C72BD-3BAB-6E68-DC34-754C9CAA3435}"/>
              </a:ext>
            </a:extLst>
          </p:cNvPr>
          <p:cNvCxnSpPr>
            <a:cxnSpLocks/>
          </p:cNvCxnSpPr>
          <p:nvPr userDrawn="1"/>
        </p:nvCxnSpPr>
        <p:spPr>
          <a:xfrm flipH="1">
            <a:off x="9848370" y="11365227"/>
            <a:ext cx="2" cy="118733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45">
            <a:extLst>
              <a:ext uri="{FF2B5EF4-FFF2-40B4-BE49-F238E27FC236}">
                <a16:creationId xmlns:a16="http://schemas.microsoft.com/office/drawing/2014/main" id="{2DDBA8AB-435D-1A79-2AE9-F53D44CA8BAC}"/>
              </a:ext>
            </a:extLst>
          </p:cNvPr>
          <p:cNvCxnSpPr>
            <a:cxnSpLocks/>
          </p:cNvCxnSpPr>
          <p:nvPr userDrawn="1"/>
        </p:nvCxnSpPr>
        <p:spPr>
          <a:xfrm flipH="1">
            <a:off x="10261468" y="11424594"/>
            <a:ext cx="9423797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C1F47E36-FE4C-379E-D306-3C0D51DBBA05}"/>
              </a:ext>
            </a:extLst>
          </p:cNvPr>
          <p:cNvSpPr txBox="1"/>
          <p:nvPr userDrawn="1"/>
        </p:nvSpPr>
        <p:spPr bwMode="auto">
          <a:xfrm>
            <a:off x="14767113" y="11323086"/>
            <a:ext cx="570117" cy="203004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rtl="0" eaLnBrk="0" hangingPunct="0">
              <a:buClr>
                <a:schemeClr val="tx2"/>
              </a:buClr>
              <a:buSzTx/>
            </a:pPr>
            <a:r>
              <a:rPr lang="fr-FR" sz="1319" b="1">
                <a:solidFill>
                  <a:schemeClr val="tx2"/>
                </a:solidFill>
              </a:rPr>
              <a:t>15.88 </a:t>
            </a:r>
          </a:p>
        </p:txBody>
      </p:sp>
      <p:cxnSp>
        <p:nvCxnSpPr>
          <p:cNvPr id="19" name="Gerade Verbindung 39">
            <a:extLst>
              <a:ext uri="{FF2B5EF4-FFF2-40B4-BE49-F238E27FC236}">
                <a16:creationId xmlns:a16="http://schemas.microsoft.com/office/drawing/2014/main" id="{F7FE1A25-2786-BEEB-7BE4-1E035D639F28}"/>
              </a:ext>
            </a:extLst>
          </p:cNvPr>
          <p:cNvCxnSpPr>
            <a:cxnSpLocks/>
          </p:cNvCxnSpPr>
          <p:nvPr userDrawn="1"/>
        </p:nvCxnSpPr>
        <p:spPr>
          <a:xfrm flipH="1">
            <a:off x="10259658" y="11365227"/>
            <a:ext cx="2" cy="118733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39">
            <a:extLst>
              <a:ext uri="{FF2B5EF4-FFF2-40B4-BE49-F238E27FC236}">
                <a16:creationId xmlns:a16="http://schemas.microsoft.com/office/drawing/2014/main" id="{27C61324-9218-D05A-9C79-FE76AB946B0B}"/>
              </a:ext>
            </a:extLst>
          </p:cNvPr>
          <p:cNvCxnSpPr>
            <a:cxnSpLocks/>
          </p:cNvCxnSpPr>
          <p:nvPr userDrawn="1"/>
        </p:nvCxnSpPr>
        <p:spPr>
          <a:xfrm flipH="1">
            <a:off x="19685267" y="11365227"/>
            <a:ext cx="2" cy="118733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70002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5">
          <p15:clr>
            <a:srgbClr val="F26B43"/>
          </p15:clr>
        </p15:guide>
        <p15:guide id="8" pos="3761">
          <p15:clr>
            <a:srgbClr val="F26B43"/>
          </p15:clr>
        </p15:guide>
        <p15:guide id="9" pos="3840">
          <p15:clr>
            <a:srgbClr val="F26B43"/>
          </p15:clr>
        </p15:guide>
        <p15:guide id="10" pos="3920">
          <p15:clr>
            <a:srgbClr val="F26B43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calaire #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99FA4A1-A342-B989-1DE4-1BC2503677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1993715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484" imgH="486" progId="TCLayout.ActiveDocument.1">
                  <p:embed/>
                </p:oleObj>
              </mc:Choice>
              <mc:Fallback>
                <p:oleObj name="Diapositive think-cell" r:id="rId3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9FA4A1-A342-B989-1DE4-1BC2503677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C9E5E7C-AE32-FB4C-A7D5-763D0651E40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r>
              <a:rPr lang="fr-FR"/>
              <a:t>| </a:t>
            </a:r>
            <a:fld id="{E81B8D95-AA0C-433D-B79A-00E7CF97219C}" type="slidenum">
              <a:rPr lang="fr-FR" smtClean="0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313D8E5-ED99-2967-39BC-D930AB51CA23}"/>
              </a:ext>
            </a:extLst>
          </p:cNvPr>
          <p:cNvSpPr/>
          <p:nvPr userDrawn="1"/>
        </p:nvSpPr>
        <p:spPr bwMode="auto">
          <a:xfrm>
            <a:off x="0" y="0"/>
            <a:ext cx="9894987" cy="11309350"/>
          </a:xfrm>
          <a:prstGeom prst="rect">
            <a:avLst/>
          </a:prstGeom>
          <a:solidFill>
            <a:schemeClr val="accent1"/>
          </a:solidFill>
          <a:ln w="12700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59363" tIns="59363" rIns="59363" bIns="5936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98428" marR="0" lvl="0" indent="-298428" algn="ctr" defTabSz="15078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-FR" sz="296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5E6C6C8-4EBC-5940-1AA3-E42EF63E73F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4182" y="5082664"/>
            <a:ext cx="9486622" cy="116735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rtl="0">
              <a:buNone/>
              <a:defRPr kumimoji="0" lang="fr-FR" sz="6596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98428" marR="0" lvl="0" indent="-298428" algn="l" defTabSz="15078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FF6600"/>
              </a:buClr>
              <a:buSzTx/>
              <a:tabLst/>
              <a:defRPr/>
            </a:pPr>
            <a:r>
              <a:rPr lang="fr-FR"/>
              <a:t>Titre de la section</a:t>
            </a:r>
          </a:p>
        </p:txBody>
      </p:sp>
      <p:pic>
        <p:nvPicPr>
          <p:cNvPr id="2" name="Image 1" descr="Une image contenant texte, personne, intérieur&#10;&#10;Description générée automatiquement">
            <a:extLst>
              <a:ext uri="{FF2B5EF4-FFF2-40B4-BE49-F238E27FC236}">
                <a16:creationId xmlns:a16="http://schemas.microsoft.com/office/drawing/2014/main" id="{75045309-3C50-8D92-D60E-3F1D42EF67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24" r="14334"/>
          <a:stretch/>
        </p:blipFill>
        <p:spPr>
          <a:xfrm>
            <a:off x="9894989" y="3"/>
            <a:ext cx="10209113" cy="11309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06786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_Titel_Untertitel_Inhaltsplatzspeic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B33ED23-0356-219C-BF61-DD78CD059A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8882666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484" imgH="486" progId="TCLayout.ActiveDocument.1">
                  <p:embed/>
                </p:oleObj>
              </mc:Choice>
              <mc:Fallback>
                <p:oleObj name="Diapositive think-cell" r:id="rId3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B33ED23-0356-219C-BF61-DD78CD059A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0" hasCustomPrompt="1"/>
          </p:nvPr>
        </p:nvSpPr>
        <p:spPr>
          <a:xfrm>
            <a:off x="554154" y="1856096"/>
            <a:ext cx="18992577" cy="2030185"/>
          </a:xfrm>
          <a:prstGeom prst="rect">
            <a:avLst/>
          </a:prstGeom>
        </p:spPr>
        <p:txBody>
          <a:bodyPr/>
          <a:lstStyle>
            <a:lvl1pPr marL="298428" indent="-298428" rtl="0">
              <a:buFont typeface="Arial" panose="020B0604020202020204" pitchFamily="34" charset="0"/>
              <a:buChar char="•"/>
              <a:defRPr/>
            </a:lvl1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FR" err="1"/>
              <a:t>Text</a:t>
            </a:r>
            <a:r>
              <a:rPr lang="fr-FR"/>
              <a:t> </a:t>
            </a:r>
            <a:r>
              <a:rPr lang="fr-FR" err="1"/>
              <a:t>durch</a:t>
            </a:r>
            <a:r>
              <a:rPr lang="fr-FR"/>
              <a:t> </a:t>
            </a:r>
            <a:r>
              <a:rPr lang="fr-FR" err="1"/>
              <a:t>Klicken</a:t>
            </a:r>
            <a:r>
              <a:rPr lang="fr-FR"/>
              <a:t> </a:t>
            </a:r>
            <a:r>
              <a:rPr lang="fr-FR" err="1"/>
              <a:t>hinzufügen</a:t>
            </a:r>
            <a:endParaRPr lang="fr-FR"/>
          </a:p>
          <a:p>
            <a:pPr lvl="2"/>
            <a:r>
              <a:rPr lang="fr-FR" err="1"/>
              <a:t>Zwei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  <a:p>
            <a:pPr lvl="3"/>
            <a:r>
              <a:rPr lang="fr-FR" err="1"/>
              <a:t>Drit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  <a:p>
            <a:pPr lvl="4"/>
            <a:r>
              <a:rPr lang="fr-FR" err="1"/>
              <a:t>Vier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5265" y="1226082"/>
            <a:ext cx="1461989" cy="478648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36000" rIns="36000" bIns="36000" anchor="ctr" anchorCtr="0">
            <a:spAutoFit/>
          </a:bodyPr>
          <a:lstStyle>
            <a:lvl1pPr marL="0" indent="0" rtl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err="1"/>
              <a:t>Untertitel</a:t>
            </a:r>
            <a:endParaRPr lang="fr-FR"/>
          </a:p>
        </p:txBody>
      </p:sp>
      <p:sp>
        <p:nvSpPr>
          <p:cNvPr id="6" name="Fußzeilenplatzhalter 24"/>
          <p:cNvSpPr txBox="1">
            <a:spLocks/>
          </p:cNvSpPr>
          <p:nvPr userDrawn="1"/>
        </p:nvSpPr>
        <p:spPr>
          <a:xfrm>
            <a:off x="2375580" y="10950866"/>
            <a:ext cx="12584401" cy="20300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898989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15078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319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0" name="Eingekerbter Richtungspfeil 2"/>
          <p:cNvSpPr/>
          <p:nvPr userDrawn="1"/>
        </p:nvSpPr>
        <p:spPr bwMode="auto">
          <a:xfrm>
            <a:off x="183535" y="10907721"/>
            <a:ext cx="146126" cy="237467"/>
          </a:xfrm>
          <a:prstGeom prst="chevron">
            <a:avLst>
              <a:gd name="adj" fmla="val 60698"/>
            </a:avLst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vert="horz" lIns="0" tIns="0" rIns="0" bIns="0" rtlCol="0" anchor="ctr" anchorCtr="1"/>
          <a:lstStyle/>
          <a:p>
            <a:pPr algn="ctr" rtl="0" eaLnBrk="0" hangingPunct="0"/>
            <a:endParaRPr lang="fr-FR" sz="2638"/>
          </a:p>
        </p:txBody>
      </p:sp>
      <p:sp>
        <p:nvSpPr>
          <p:cNvPr id="15" name="Date Placeholder 5"/>
          <p:cNvSpPr>
            <a:spLocks noGrp="1"/>
          </p:cNvSpPr>
          <p:nvPr>
            <p:ph type="dt" sz="half" idx="2"/>
          </p:nvPr>
        </p:nvSpPr>
        <p:spPr>
          <a:xfrm>
            <a:off x="17889397" y="10950867"/>
            <a:ext cx="1397797" cy="25123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rtl="0">
              <a:defRPr kumimoji="0" lang="en-GB" sz="1633" b="0" i="0" u="none" strike="noStrike" cap="none" spc="0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fld id="{04D538EA-D614-410C-8383-23116B072B44}" type="datetime1">
              <a:rPr lang="en-US" smtClean="0"/>
              <a:t>11/19/2025</a:t>
            </a:fld>
            <a:endParaRPr lang="fr-FR"/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8971528" y="10950866"/>
            <a:ext cx="579578" cy="2512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r" defTabSz="15078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GB" sz="1319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defRPr>
            </a:lvl1pPr>
          </a:lstStyle>
          <a:p>
            <a:pPr>
              <a:defRPr/>
            </a:pPr>
            <a:r>
              <a:rPr lang="fr-FR"/>
              <a:t>| </a:t>
            </a:r>
            <a:fld id="{E81B8D95-AA0C-433D-B79A-00E7CF97219C}" type="slidenum">
              <a:rPr lang="fr-FR" sz="1633" smtClean="0"/>
              <a:pPr>
                <a:defRPr/>
              </a:pPr>
              <a:t>‹N°›</a:t>
            </a:fld>
            <a:endParaRPr lang="fr-FR" sz="1633"/>
          </a:p>
        </p:txBody>
      </p:sp>
    </p:spTree>
    <p:extLst>
      <p:ext uri="{BB962C8B-B14F-4D97-AF65-F5344CB8AC3E}">
        <p14:creationId xmlns:p14="http://schemas.microsoft.com/office/powerpoint/2010/main" val="209609051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_Titel_Untertitel_Inhaltsplatzspeic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F614375-A36E-E4F5-74F1-BBC14D7EA9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0506819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484" imgH="486" progId="TCLayout.ActiveDocument.1">
                  <p:embed/>
                </p:oleObj>
              </mc:Choice>
              <mc:Fallback>
                <p:oleObj name="Diapositive think-cell" r:id="rId3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F614375-A36E-E4F5-74F1-BBC14D7EA9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0" hasCustomPrompt="1"/>
          </p:nvPr>
        </p:nvSpPr>
        <p:spPr>
          <a:xfrm>
            <a:off x="554154" y="1856096"/>
            <a:ext cx="18992577" cy="2030185"/>
          </a:xfrm>
          <a:prstGeom prst="rect">
            <a:avLst/>
          </a:prstGeom>
        </p:spPr>
        <p:txBody>
          <a:bodyPr/>
          <a:lstStyle>
            <a:lvl1pPr marL="298428" indent="-298428" rtl="0">
              <a:buFont typeface="Arial" panose="020B0604020202020204" pitchFamily="34" charset="0"/>
              <a:buChar char="•"/>
              <a:defRPr/>
            </a:lvl1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FR" err="1"/>
              <a:t>Text</a:t>
            </a:r>
            <a:r>
              <a:rPr lang="fr-FR"/>
              <a:t> </a:t>
            </a:r>
            <a:r>
              <a:rPr lang="fr-FR" err="1"/>
              <a:t>durch</a:t>
            </a:r>
            <a:r>
              <a:rPr lang="fr-FR"/>
              <a:t> </a:t>
            </a:r>
            <a:r>
              <a:rPr lang="fr-FR" err="1"/>
              <a:t>Klicken</a:t>
            </a:r>
            <a:r>
              <a:rPr lang="fr-FR"/>
              <a:t> </a:t>
            </a:r>
            <a:r>
              <a:rPr lang="fr-FR" err="1"/>
              <a:t>hinzufügen</a:t>
            </a:r>
            <a:endParaRPr lang="fr-FR"/>
          </a:p>
          <a:p>
            <a:pPr lvl="2"/>
            <a:r>
              <a:rPr lang="fr-FR" err="1"/>
              <a:t>Zwei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  <a:p>
            <a:pPr lvl="3"/>
            <a:r>
              <a:rPr lang="fr-FR" err="1"/>
              <a:t>Drit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  <a:p>
            <a:pPr lvl="4"/>
            <a:r>
              <a:rPr lang="fr-FR" err="1"/>
              <a:t>Vier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5265" y="1226082"/>
            <a:ext cx="1461989" cy="478648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36000" rIns="36000" bIns="36000" anchor="ctr" anchorCtr="0">
            <a:spAutoFit/>
          </a:bodyPr>
          <a:lstStyle>
            <a:lvl1pPr marL="0" indent="0" rtl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err="1"/>
              <a:t>Untertitel</a:t>
            </a:r>
            <a:endParaRPr lang="fr-FR"/>
          </a:p>
        </p:txBody>
      </p:sp>
      <p:sp>
        <p:nvSpPr>
          <p:cNvPr id="6" name="Fußzeilenplatzhalter 24"/>
          <p:cNvSpPr txBox="1">
            <a:spLocks/>
          </p:cNvSpPr>
          <p:nvPr userDrawn="1"/>
        </p:nvSpPr>
        <p:spPr>
          <a:xfrm>
            <a:off x="2375580" y="10950866"/>
            <a:ext cx="12584401" cy="20300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898989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15078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319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0" name="Eingekerbter Richtungspfeil 2"/>
          <p:cNvSpPr/>
          <p:nvPr userDrawn="1"/>
        </p:nvSpPr>
        <p:spPr bwMode="auto">
          <a:xfrm>
            <a:off x="183535" y="10907721"/>
            <a:ext cx="146126" cy="237467"/>
          </a:xfrm>
          <a:prstGeom prst="chevron">
            <a:avLst>
              <a:gd name="adj" fmla="val 60698"/>
            </a:avLst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vert="horz" lIns="0" tIns="0" rIns="0" bIns="0" rtlCol="0" anchor="ctr" anchorCtr="1"/>
          <a:lstStyle/>
          <a:p>
            <a:pPr algn="ctr" rtl="0" eaLnBrk="0" hangingPunct="0"/>
            <a:endParaRPr lang="fr-FR" sz="2638"/>
          </a:p>
        </p:txBody>
      </p:sp>
      <p:pic>
        <p:nvPicPr>
          <p:cNvPr id="14" name="Picture 135"/>
          <p:cNvPicPr>
            <a:picLocks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155" y="10932353"/>
            <a:ext cx="1007538" cy="182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Date Placeholder 5"/>
          <p:cNvSpPr>
            <a:spLocks noGrp="1"/>
          </p:cNvSpPr>
          <p:nvPr>
            <p:ph type="dt" sz="half" idx="2"/>
          </p:nvPr>
        </p:nvSpPr>
        <p:spPr>
          <a:xfrm>
            <a:off x="17889397" y="10950867"/>
            <a:ext cx="1397797" cy="25123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rtl="0">
              <a:defRPr kumimoji="0" lang="en-GB" sz="1633" b="0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defRPr>
            </a:lvl1pPr>
          </a:lstStyle>
          <a:p>
            <a:fld id="{7D4E06C0-E02E-4471-A2C9-A68420818880}" type="datetime1">
              <a:rPr lang="en-US" smtClean="0"/>
              <a:t>11/19/2025</a:t>
            </a:fld>
            <a:endParaRPr lang="fr-FR"/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8971528" y="10950866"/>
            <a:ext cx="579578" cy="2512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r" defTabSz="15078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GB" sz="1319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defRPr>
            </a:lvl1pPr>
          </a:lstStyle>
          <a:p>
            <a:pPr>
              <a:defRPr/>
            </a:pPr>
            <a:r>
              <a:rPr lang="fr-FR"/>
              <a:t>| </a:t>
            </a:r>
            <a:fld id="{E81B8D95-AA0C-433D-B79A-00E7CF97219C}" type="slidenum">
              <a:rPr lang="fr-FR" sz="1633" smtClean="0"/>
              <a:pPr>
                <a:defRPr/>
              </a:pPr>
              <a:t>‹N°›</a:t>
            </a:fld>
            <a:endParaRPr lang="fr-FR" sz="1633"/>
          </a:p>
        </p:txBody>
      </p:sp>
    </p:spTree>
    <p:extLst>
      <p:ext uri="{BB962C8B-B14F-4D97-AF65-F5344CB8AC3E}">
        <p14:creationId xmlns:p14="http://schemas.microsoft.com/office/powerpoint/2010/main" val="16448303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100" b="1" i="0">
                <a:solidFill>
                  <a:srgbClr val="2F4048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53EBF0-1FD5-4E0C-B930-986A836E0CD4}" type="datetime1">
              <a:rPr lang="en-US" smtClean="0"/>
              <a:t>11/19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650"/>
              </a:lnSpc>
            </a:pPr>
            <a:fld id="{81D60167-4931-47E6-BA6A-407CBD079E47}" type="slidenum">
              <a:rPr spc="-25" dirty="0"/>
              <a:t>‹N°›</a:t>
            </a:fld>
            <a:endParaRPr spc="-25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ty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711CD9B-9F81-6C15-847F-417232804E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0854395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484" imgH="486" progId="TCLayout.ActiveDocument.1">
                  <p:embed/>
                </p:oleObj>
              </mc:Choice>
              <mc:Fallback>
                <p:oleObj name="Diapositive think-cell" r:id="rId3" imgW="484" imgH="4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711CD9B-9F81-6C15-847F-417232804E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8971528" y="10950867"/>
            <a:ext cx="579578" cy="20301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r" defTabSz="15078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GB" sz="1319" b="0" i="0" u="none" strike="noStrike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pPr>
              <a:defRPr/>
            </a:pPr>
            <a:r>
              <a:rPr lang="fr-FR"/>
              <a:t>| </a:t>
            </a:r>
            <a:fld id="{E81B8D95-AA0C-433D-B79A-00E7CF97219C}" type="slidenum">
              <a:rPr lang="fr-FR" smtClean="0"/>
              <a:pPr>
                <a:defRPr/>
              </a:pPr>
              <a:t>‹N°›</a:t>
            </a:fld>
            <a:endParaRPr lang="fr-FR"/>
          </a:p>
        </p:txBody>
      </p:sp>
      <p:cxnSp>
        <p:nvCxnSpPr>
          <p:cNvPr id="6" name="Connecteur droit 5">
            <a:extLst>
              <a:ext uri="{FF2B5EF4-FFF2-40B4-BE49-F238E27FC236}">
                <a16:creationId xmlns:a16="http://schemas.microsoft.com/office/drawing/2014/main" id="{481E4BC0-81C8-6B5F-C731-3C6CFEF90873}"/>
              </a:ext>
            </a:extLst>
          </p:cNvPr>
          <p:cNvCxnSpPr>
            <a:cxnSpLocks/>
          </p:cNvCxnSpPr>
          <p:nvPr userDrawn="1"/>
        </p:nvCxnSpPr>
        <p:spPr>
          <a:xfrm>
            <a:off x="1184308" y="0"/>
            <a:ext cx="0" cy="1394414"/>
          </a:xfrm>
          <a:prstGeom prst="line">
            <a:avLst/>
          </a:prstGeom>
          <a:ln w="12700"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Image 6">
            <a:extLst>
              <a:ext uri="{FF2B5EF4-FFF2-40B4-BE49-F238E27FC236}">
                <a16:creationId xmlns:a16="http://schemas.microsoft.com/office/drawing/2014/main" id="{135696E5-8BD3-70A5-6C50-F033D55389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719" b="25843"/>
          <a:stretch/>
        </p:blipFill>
        <p:spPr>
          <a:xfrm>
            <a:off x="537750" y="10170264"/>
            <a:ext cx="2000790" cy="1009233"/>
          </a:xfrm>
          <a:prstGeom prst="rect">
            <a:avLst/>
          </a:prstGeom>
        </p:spPr>
      </p:pic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EF6EC909-7E53-E1C7-B291-B92DEA33C26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50983" y="544928"/>
            <a:ext cx="13653375" cy="557164"/>
          </a:xfrm>
          <a:prstGeom prst="rect">
            <a:avLst/>
          </a:prstGeom>
        </p:spPr>
        <p:txBody>
          <a:bodyPr/>
          <a:lstStyle>
            <a:lvl1pPr marL="0" indent="0" algn="l" rtl="0" fontAlgn="base">
              <a:spcBef>
                <a:spcPct val="0"/>
              </a:spcBef>
              <a:spcAft>
                <a:spcPts val="0"/>
              </a:spcAft>
              <a:buClr>
                <a:schemeClr val="accent1"/>
              </a:buClr>
              <a:buNone/>
              <a:defRPr lang="fr-FR" sz="3298" b="1" kern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1pPr>
            <a:lvl2pPr marL="0" indent="0">
              <a:buNone/>
              <a:defRPr b="1">
                <a:solidFill>
                  <a:schemeClr val="accent1"/>
                </a:solidFill>
              </a:defRPr>
            </a:lvl2pPr>
          </a:lstStyle>
          <a:p>
            <a:pPr lvl="0"/>
            <a:r>
              <a:rPr lang="fr-FR"/>
              <a:t>Titre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C12E14B6-FAD6-9A14-4E7B-3696542EC8B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50744" y="1096949"/>
            <a:ext cx="13653375" cy="471223"/>
          </a:xfrm>
          <a:prstGeom prst="rect">
            <a:avLst/>
          </a:prstGeom>
        </p:spPr>
        <p:txBody>
          <a:bodyPr/>
          <a:lstStyle>
            <a:lvl1pPr marL="0" indent="0" rtl="0"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 b="1"/>
            </a:lvl2pPr>
            <a:lvl3pPr marL="293192" indent="0">
              <a:buNone/>
              <a:defRPr b="1"/>
            </a:lvl3pPr>
            <a:lvl4pPr marL="591620" indent="0">
              <a:buNone/>
              <a:defRPr b="1"/>
            </a:lvl4pPr>
            <a:lvl5pPr marL="884812" indent="0">
              <a:buNone/>
              <a:defRPr b="1"/>
            </a:lvl5pPr>
          </a:lstStyle>
          <a:p>
            <a:pPr lvl="0"/>
            <a:r>
              <a:rPr lang="fr-FR"/>
              <a:t>Sous-titre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75CA1320-945E-2989-6243-87F5B5C71AD1}"/>
              </a:ext>
            </a:extLst>
          </p:cNvPr>
          <p:cNvSpPr txBox="1"/>
          <p:nvPr userDrawn="1"/>
        </p:nvSpPr>
        <p:spPr bwMode="auto">
          <a:xfrm>
            <a:off x="4772001" y="10709501"/>
            <a:ext cx="107977" cy="296833"/>
          </a:xfrm>
          <a:prstGeom prst="rect">
            <a:avLst/>
          </a:prstGeom>
        </p:spPr>
        <p:txBody>
          <a:bodyPr lIns="59363" tIns="59363" rIns="59363" bIns="59363" anchor="ctr"/>
          <a:lstStyle>
            <a:lvl1pPr marL="180975" marR="0" lvl="0" indent="-180975" defTabSz="914400" eaLnBrk="1" latinLnBrk="0" hangingPunct="1">
              <a:lnSpc>
                <a:spcPct val="100000"/>
              </a:lnSpc>
              <a:buClrTx/>
              <a:buSzTx/>
              <a:buFont typeface="Arial" panose="020B0604020202020204" pitchFamily="34" charset="0"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</a:defRPr>
            </a:lvl1pPr>
            <a:lvl2pPr marL="177800" indent="-177800" eaLnBrk="1" hangingPunct="1">
              <a:lnSpc>
                <a:spcPct val="100000"/>
              </a:lnSpc>
              <a:spcAft>
                <a:spcPts val="0"/>
              </a:spcAft>
              <a:buClr>
                <a:schemeClr val="accent1"/>
              </a:buClr>
              <a:buChar char="•"/>
              <a:defRPr sz="1600">
                <a:latin typeface="+mn-lt"/>
              </a:defRPr>
            </a:lvl2pPr>
            <a:lvl3pPr marL="358775" indent="-180975" eaLnBrk="1" hangingPunct="1">
              <a:lnSpc>
                <a:spcPct val="100000"/>
              </a:lnSpc>
              <a:spcAft>
                <a:spcPts val="0"/>
              </a:spcAft>
              <a:buClr>
                <a:schemeClr val="accent1"/>
              </a:buClr>
              <a:buFont typeface="Arial Unicode MS" panose="020B0604020202020204" pitchFamily="34" charset="-128"/>
              <a:buChar char="ｰ"/>
              <a:defRPr sz="1600">
                <a:latin typeface="+mn-lt"/>
              </a:defRPr>
            </a:lvl3pPr>
            <a:lvl4pPr marL="536575" indent="-177800" eaLnBrk="1" hangingPunct="1">
              <a:lnSpc>
                <a:spcPct val="100000"/>
              </a:lnSpc>
              <a:spcAft>
                <a:spcPts val="0"/>
              </a:spcAft>
              <a:buClr>
                <a:schemeClr val="accent1"/>
              </a:buClr>
              <a:buFont typeface="Arial Unicode MS" panose="020B0604020202020204" pitchFamily="34" charset="-128"/>
              <a:buChar char="-"/>
              <a:defRPr sz="1600">
                <a:latin typeface="+mn-lt"/>
              </a:defRPr>
            </a:lvl4pPr>
            <a:lvl5pPr marL="717550" indent="-180975" eaLnBrk="1" hangingPunct="1">
              <a:lnSpc>
                <a:spcPct val="100000"/>
              </a:lnSpc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lang="de-CH" sz="1600" dirty="0">
                <a:latin typeface="+mn-lt"/>
              </a:defRPr>
            </a:lvl5pPr>
            <a:lvl6pPr marL="2674938" indent="-201613" fontAlgn="base">
              <a:lnSpc>
                <a:spcPts val="2700"/>
              </a:lnSpc>
              <a:spcBef>
                <a:spcPct val="0"/>
              </a:spcBef>
              <a:spcAft>
                <a:spcPct val="40000"/>
              </a:spcAft>
              <a:buClr>
                <a:schemeClr val="tx2"/>
              </a:buClr>
              <a:buFont typeface="Times" pitchFamily="18" charset="0"/>
              <a:buChar char="»"/>
              <a:defRPr sz="2400">
                <a:latin typeface="+mn-lt"/>
              </a:defRPr>
            </a:lvl6pPr>
            <a:lvl7pPr marL="3132138" indent="-201613" fontAlgn="base">
              <a:lnSpc>
                <a:spcPts val="2700"/>
              </a:lnSpc>
              <a:spcBef>
                <a:spcPct val="0"/>
              </a:spcBef>
              <a:spcAft>
                <a:spcPct val="40000"/>
              </a:spcAft>
              <a:buClr>
                <a:schemeClr val="tx2"/>
              </a:buClr>
              <a:buFont typeface="Times" pitchFamily="18" charset="0"/>
              <a:buChar char="»"/>
              <a:defRPr sz="2400">
                <a:latin typeface="+mn-lt"/>
              </a:defRPr>
            </a:lvl7pPr>
            <a:lvl8pPr marL="3589338" indent="-201613" fontAlgn="base">
              <a:lnSpc>
                <a:spcPts val="2700"/>
              </a:lnSpc>
              <a:spcBef>
                <a:spcPct val="0"/>
              </a:spcBef>
              <a:spcAft>
                <a:spcPct val="40000"/>
              </a:spcAft>
              <a:buClr>
                <a:schemeClr val="tx2"/>
              </a:buClr>
              <a:buFont typeface="Times" pitchFamily="18" charset="0"/>
              <a:buChar char="»"/>
              <a:defRPr sz="2400">
                <a:latin typeface="+mn-lt"/>
              </a:defRPr>
            </a:lvl8pPr>
            <a:lvl9pPr marL="4046538" indent="-201613" fontAlgn="base">
              <a:lnSpc>
                <a:spcPts val="2700"/>
              </a:lnSpc>
              <a:spcBef>
                <a:spcPct val="0"/>
              </a:spcBef>
              <a:spcAft>
                <a:spcPct val="40000"/>
              </a:spcAft>
              <a:buClr>
                <a:schemeClr val="tx2"/>
              </a:buClr>
              <a:buFont typeface="Times" pitchFamily="18" charset="0"/>
              <a:buChar char="»"/>
              <a:defRPr sz="2400">
                <a:latin typeface="+mn-lt"/>
              </a:defRPr>
            </a:lvl9pPr>
          </a:lstStyle>
          <a:p>
            <a:pPr lvl="0" algn="ctr" rtl="0"/>
            <a:r>
              <a:rPr lang="fr-FR" sz="1319"/>
              <a:t>|</a:t>
            </a:r>
          </a:p>
        </p:txBody>
      </p:sp>
      <p:sp>
        <p:nvSpPr>
          <p:cNvPr id="20" name="Espace réservé du texte 19">
            <a:extLst>
              <a:ext uri="{FF2B5EF4-FFF2-40B4-BE49-F238E27FC236}">
                <a16:creationId xmlns:a16="http://schemas.microsoft.com/office/drawing/2014/main" id="{E58577BB-1DB3-122B-7F37-A140DA64756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92963" y="10709501"/>
            <a:ext cx="10939016" cy="296833"/>
          </a:xfrm>
          <a:prstGeom prst="rect">
            <a:avLst/>
          </a:prstGeom>
        </p:spPr>
        <p:txBody>
          <a:bodyPr lIns="36000" tIns="36000" rIns="36000" bIns="36000"/>
          <a:lstStyle>
            <a:lvl1pPr marL="0" indent="0" rtl="0">
              <a:buNone/>
              <a:defRPr kumimoji="0" lang="fr-FR" sz="1319" b="0" i="0" u="none" strike="noStrike" kern="1200" cap="none" spc="0" normalizeH="0" baseline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98428" lvl="0" indent="-298428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989"/>
              </a:spcAft>
              <a:buClr>
                <a:schemeClr val="accent1"/>
              </a:buClr>
            </a:pPr>
            <a:r>
              <a:rPr lang="fr-FR"/>
              <a:t>Nom de la séquence et date</a:t>
            </a:r>
          </a:p>
        </p:txBody>
      </p:sp>
    </p:spTree>
    <p:extLst>
      <p:ext uri="{BB962C8B-B14F-4D97-AF65-F5344CB8AC3E}">
        <p14:creationId xmlns:p14="http://schemas.microsoft.com/office/powerpoint/2010/main" val="12635853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calaire #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99FA4A1-A342-B989-1DE4-1BC2503677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1993715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484" imgH="486" progId="TCLayout.ActiveDocument.1">
                  <p:embed/>
                </p:oleObj>
              </mc:Choice>
              <mc:Fallback>
                <p:oleObj name="Diapositive think-cell" r:id="rId3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9FA4A1-A342-B989-1DE4-1BC2503677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C9E5E7C-AE32-FB4C-A7D5-763D0651E40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r>
              <a:rPr lang="fr-FR"/>
              <a:t>| </a:t>
            </a:r>
            <a:fld id="{E81B8D95-AA0C-433D-B79A-00E7CF97219C}" type="slidenum">
              <a:rPr lang="fr-FR" smtClean="0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313D8E5-ED99-2967-39BC-D930AB51CA23}"/>
              </a:ext>
            </a:extLst>
          </p:cNvPr>
          <p:cNvSpPr/>
          <p:nvPr userDrawn="1"/>
        </p:nvSpPr>
        <p:spPr bwMode="auto">
          <a:xfrm>
            <a:off x="0" y="0"/>
            <a:ext cx="9894987" cy="11309350"/>
          </a:xfrm>
          <a:prstGeom prst="rect">
            <a:avLst/>
          </a:prstGeom>
          <a:solidFill>
            <a:schemeClr val="accent1"/>
          </a:solidFill>
          <a:ln w="12700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59363" tIns="59363" rIns="59363" bIns="5936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98428" marR="0" lvl="0" indent="-298428" algn="ctr" defTabSz="15078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-FR" sz="296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5E6C6C8-4EBC-5940-1AA3-E42EF63E73F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4182" y="5082664"/>
            <a:ext cx="9486622" cy="116735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rtl="0">
              <a:buNone/>
              <a:defRPr kumimoji="0" lang="fr-FR" sz="6596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98428" marR="0" lvl="0" indent="-298428" algn="l" defTabSz="15078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FF6600"/>
              </a:buClr>
              <a:buSzTx/>
              <a:tabLst/>
              <a:defRPr/>
            </a:pPr>
            <a:r>
              <a:rPr lang="fr-FR"/>
              <a:t>Titre de la section</a:t>
            </a:r>
          </a:p>
        </p:txBody>
      </p:sp>
      <p:pic>
        <p:nvPicPr>
          <p:cNvPr id="2" name="Image 1" descr="Une image contenant texte, personne, intérieur&#10;&#10;Description générée automatiquement">
            <a:extLst>
              <a:ext uri="{FF2B5EF4-FFF2-40B4-BE49-F238E27FC236}">
                <a16:creationId xmlns:a16="http://schemas.microsoft.com/office/drawing/2014/main" id="{75045309-3C50-8D92-D60E-3F1D42EF67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24" r="14334"/>
          <a:stretch/>
        </p:blipFill>
        <p:spPr>
          <a:xfrm>
            <a:off x="9894989" y="3"/>
            <a:ext cx="10209113" cy="11309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9665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_Titel_Untertitel_Inhaltsplatzspeic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B33ED23-0356-219C-BF61-DD78CD059A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8882666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484" imgH="486" progId="TCLayout.ActiveDocument.1">
                  <p:embed/>
                </p:oleObj>
              </mc:Choice>
              <mc:Fallback>
                <p:oleObj name="Diapositive think-cell" r:id="rId3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B33ED23-0356-219C-BF61-DD78CD059A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0" hasCustomPrompt="1"/>
          </p:nvPr>
        </p:nvSpPr>
        <p:spPr>
          <a:xfrm>
            <a:off x="554154" y="1856096"/>
            <a:ext cx="18992577" cy="2030185"/>
          </a:xfrm>
          <a:prstGeom prst="rect">
            <a:avLst/>
          </a:prstGeom>
        </p:spPr>
        <p:txBody>
          <a:bodyPr/>
          <a:lstStyle>
            <a:lvl1pPr marL="298428" indent="-298428" rtl="0">
              <a:buFont typeface="Arial" panose="020B0604020202020204" pitchFamily="34" charset="0"/>
              <a:buChar char="•"/>
              <a:defRPr/>
            </a:lvl1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FR" err="1"/>
              <a:t>Text</a:t>
            </a:r>
            <a:r>
              <a:rPr lang="fr-FR"/>
              <a:t> </a:t>
            </a:r>
            <a:r>
              <a:rPr lang="fr-FR" err="1"/>
              <a:t>durch</a:t>
            </a:r>
            <a:r>
              <a:rPr lang="fr-FR"/>
              <a:t> </a:t>
            </a:r>
            <a:r>
              <a:rPr lang="fr-FR" err="1"/>
              <a:t>Klicken</a:t>
            </a:r>
            <a:r>
              <a:rPr lang="fr-FR"/>
              <a:t> </a:t>
            </a:r>
            <a:r>
              <a:rPr lang="fr-FR" err="1"/>
              <a:t>hinzufügen</a:t>
            </a:r>
            <a:endParaRPr lang="fr-FR"/>
          </a:p>
          <a:p>
            <a:pPr lvl="2"/>
            <a:r>
              <a:rPr lang="fr-FR" err="1"/>
              <a:t>Zwei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  <a:p>
            <a:pPr lvl="3"/>
            <a:r>
              <a:rPr lang="fr-FR" err="1"/>
              <a:t>Drit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  <a:p>
            <a:pPr lvl="4"/>
            <a:r>
              <a:rPr lang="fr-FR" err="1"/>
              <a:t>Vier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5265" y="1226082"/>
            <a:ext cx="1461989" cy="478648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36000" rIns="36000" bIns="36000" anchor="ctr" anchorCtr="0">
            <a:spAutoFit/>
          </a:bodyPr>
          <a:lstStyle>
            <a:lvl1pPr marL="0" indent="0" rtl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err="1"/>
              <a:t>Untertitel</a:t>
            </a:r>
            <a:endParaRPr lang="fr-FR"/>
          </a:p>
        </p:txBody>
      </p:sp>
      <p:sp>
        <p:nvSpPr>
          <p:cNvPr id="6" name="Fußzeilenplatzhalter 24"/>
          <p:cNvSpPr txBox="1">
            <a:spLocks/>
          </p:cNvSpPr>
          <p:nvPr userDrawn="1"/>
        </p:nvSpPr>
        <p:spPr>
          <a:xfrm>
            <a:off x="2375580" y="10950866"/>
            <a:ext cx="12584401" cy="20300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898989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15078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319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0" name="Eingekerbter Richtungspfeil 2"/>
          <p:cNvSpPr/>
          <p:nvPr userDrawn="1"/>
        </p:nvSpPr>
        <p:spPr bwMode="auto">
          <a:xfrm>
            <a:off x="183535" y="10907721"/>
            <a:ext cx="146126" cy="237467"/>
          </a:xfrm>
          <a:prstGeom prst="chevron">
            <a:avLst>
              <a:gd name="adj" fmla="val 60698"/>
            </a:avLst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vert="horz" lIns="0" tIns="0" rIns="0" bIns="0" rtlCol="0" anchor="ctr" anchorCtr="1"/>
          <a:lstStyle/>
          <a:p>
            <a:pPr algn="ctr" rtl="0" eaLnBrk="0" hangingPunct="0"/>
            <a:endParaRPr lang="fr-FR" sz="2638"/>
          </a:p>
        </p:txBody>
      </p:sp>
      <p:sp>
        <p:nvSpPr>
          <p:cNvPr id="15" name="Date Placeholder 5"/>
          <p:cNvSpPr>
            <a:spLocks noGrp="1"/>
          </p:cNvSpPr>
          <p:nvPr>
            <p:ph type="dt" sz="half" idx="2"/>
          </p:nvPr>
        </p:nvSpPr>
        <p:spPr>
          <a:xfrm>
            <a:off x="17889397" y="10950867"/>
            <a:ext cx="1397797" cy="25123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rtl="0">
              <a:defRPr kumimoji="0" lang="en-GB" sz="1633" b="0" i="0" u="none" strike="noStrike" cap="none" spc="0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fld id="{2C2B3344-8850-4314-B1C1-6C44592531ED}" type="datetime1">
              <a:rPr lang="en-US" smtClean="0"/>
              <a:t>11/19/2025</a:t>
            </a:fld>
            <a:endParaRPr lang="fr-FR"/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8971528" y="10950866"/>
            <a:ext cx="579578" cy="2512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r" defTabSz="15078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GB" sz="1319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defRPr>
            </a:lvl1pPr>
          </a:lstStyle>
          <a:p>
            <a:pPr>
              <a:defRPr/>
            </a:pPr>
            <a:r>
              <a:rPr lang="fr-FR"/>
              <a:t>| </a:t>
            </a:r>
            <a:fld id="{E81B8D95-AA0C-433D-B79A-00E7CF97219C}" type="slidenum">
              <a:rPr lang="fr-FR" sz="1633" smtClean="0"/>
              <a:pPr>
                <a:defRPr/>
              </a:pPr>
              <a:t>‹N°›</a:t>
            </a:fld>
            <a:endParaRPr lang="fr-FR" sz="1633"/>
          </a:p>
        </p:txBody>
      </p:sp>
    </p:spTree>
    <p:extLst>
      <p:ext uri="{BB962C8B-B14F-4D97-AF65-F5344CB8AC3E}">
        <p14:creationId xmlns:p14="http://schemas.microsoft.com/office/powerpoint/2010/main" val="345102592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_Titel_Untertitel_Inhaltsplatzspeic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F614375-A36E-E4F5-74F1-BBC14D7EA9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0506819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484" imgH="486" progId="TCLayout.ActiveDocument.1">
                  <p:embed/>
                </p:oleObj>
              </mc:Choice>
              <mc:Fallback>
                <p:oleObj name="Diapositive think-cell" r:id="rId3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F614375-A36E-E4F5-74F1-BBC14D7EA9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0" hasCustomPrompt="1"/>
          </p:nvPr>
        </p:nvSpPr>
        <p:spPr>
          <a:xfrm>
            <a:off x="554154" y="1856096"/>
            <a:ext cx="18992577" cy="2030185"/>
          </a:xfrm>
          <a:prstGeom prst="rect">
            <a:avLst/>
          </a:prstGeom>
        </p:spPr>
        <p:txBody>
          <a:bodyPr/>
          <a:lstStyle>
            <a:lvl1pPr marL="298428" indent="-298428" rtl="0">
              <a:buFont typeface="Arial" panose="020B0604020202020204" pitchFamily="34" charset="0"/>
              <a:buChar char="•"/>
              <a:defRPr/>
            </a:lvl1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FR" err="1"/>
              <a:t>Text</a:t>
            </a:r>
            <a:r>
              <a:rPr lang="fr-FR"/>
              <a:t> </a:t>
            </a:r>
            <a:r>
              <a:rPr lang="fr-FR" err="1"/>
              <a:t>durch</a:t>
            </a:r>
            <a:r>
              <a:rPr lang="fr-FR"/>
              <a:t> </a:t>
            </a:r>
            <a:r>
              <a:rPr lang="fr-FR" err="1"/>
              <a:t>Klicken</a:t>
            </a:r>
            <a:r>
              <a:rPr lang="fr-FR"/>
              <a:t> </a:t>
            </a:r>
            <a:r>
              <a:rPr lang="fr-FR" err="1"/>
              <a:t>hinzufügen</a:t>
            </a:r>
            <a:endParaRPr lang="fr-FR"/>
          </a:p>
          <a:p>
            <a:pPr lvl="2"/>
            <a:r>
              <a:rPr lang="fr-FR" err="1"/>
              <a:t>Zwei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  <a:p>
            <a:pPr lvl="3"/>
            <a:r>
              <a:rPr lang="fr-FR" err="1"/>
              <a:t>Drit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  <a:p>
            <a:pPr lvl="4"/>
            <a:r>
              <a:rPr lang="fr-FR" err="1"/>
              <a:t>Vier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5265" y="1226082"/>
            <a:ext cx="1461989" cy="478648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36000" rIns="36000" bIns="36000" anchor="ctr" anchorCtr="0">
            <a:spAutoFit/>
          </a:bodyPr>
          <a:lstStyle>
            <a:lvl1pPr marL="0" indent="0" rtl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err="1"/>
              <a:t>Untertitel</a:t>
            </a:r>
            <a:endParaRPr lang="fr-FR"/>
          </a:p>
        </p:txBody>
      </p:sp>
      <p:sp>
        <p:nvSpPr>
          <p:cNvPr id="6" name="Fußzeilenplatzhalter 24"/>
          <p:cNvSpPr txBox="1">
            <a:spLocks/>
          </p:cNvSpPr>
          <p:nvPr userDrawn="1"/>
        </p:nvSpPr>
        <p:spPr>
          <a:xfrm>
            <a:off x="2375580" y="10950866"/>
            <a:ext cx="12584401" cy="20300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898989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15078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319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0" name="Eingekerbter Richtungspfeil 2"/>
          <p:cNvSpPr/>
          <p:nvPr userDrawn="1"/>
        </p:nvSpPr>
        <p:spPr bwMode="auto">
          <a:xfrm>
            <a:off x="183535" y="10907721"/>
            <a:ext cx="146126" cy="237467"/>
          </a:xfrm>
          <a:prstGeom prst="chevron">
            <a:avLst>
              <a:gd name="adj" fmla="val 60698"/>
            </a:avLst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vert="horz" lIns="0" tIns="0" rIns="0" bIns="0" rtlCol="0" anchor="ctr" anchorCtr="1"/>
          <a:lstStyle/>
          <a:p>
            <a:pPr algn="ctr" rtl="0" eaLnBrk="0" hangingPunct="0"/>
            <a:endParaRPr lang="fr-FR" sz="2638"/>
          </a:p>
        </p:txBody>
      </p:sp>
      <p:pic>
        <p:nvPicPr>
          <p:cNvPr id="14" name="Picture 135"/>
          <p:cNvPicPr>
            <a:picLocks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155" y="10932353"/>
            <a:ext cx="1007538" cy="182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Date Placeholder 5"/>
          <p:cNvSpPr>
            <a:spLocks noGrp="1"/>
          </p:cNvSpPr>
          <p:nvPr>
            <p:ph type="dt" sz="half" idx="2"/>
          </p:nvPr>
        </p:nvSpPr>
        <p:spPr>
          <a:xfrm>
            <a:off x="17889397" y="10950867"/>
            <a:ext cx="1397797" cy="25123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rtl="0">
              <a:defRPr kumimoji="0" lang="en-GB" sz="1633" b="0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defRPr>
            </a:lvl1pPr>
          </a:lstStyle>
          <a:p>
            <a:fld id="{A7E327BC-D310-4F29-8D7D-DCF878B7FABC}" type="datetime1">
              <a:rPr lang="en-US" smtClean="0"/>
              <a:t>11/19/2025</a:t>
            </a:fld>
            <a:endParaRPr lang="fr-FR"/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8971528" y="10950866"/>
            <a:ext cx="579578" cy="2512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r" defTabSz="15078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GB" sz="1319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defRPr>
            </a:lvl1pPr>
          </a:lstStyle>
          <a:p>
            <a:pPr>
              <a:defRPr/>
            </a:pPr>
            <a:r>
              <a:rPr lang="fr-FR"/>
              <a:t>| </a:t>
            </a:r>
            <a:fld id="{E81B8D95-AA0C-433D-B79A-00E7CF97219C}" type="slidenum">
              <a:rPr lang="fr-FR" sz="1633" smtClean="0"/>
              <a:pPr>
                <a:defRPr/>
              </a:pPr>
              <a:t>‹N°›</a:t>
            </a:fld>
            <a:endParaRPr lang="fr-FR" sz="1633"/>
          </a:p>
        </p:txBody>
      </p:sp>
    </p:spTree>
    <p:extLst>
      <p:ext uri="{BB962C8B-B14F-4D97-AF65-F5344CB8AC3E}">
        <p14:creationId xmlns:p14="http://schemas.microsoft.com/office/powerpoint/2010/main" val="358715624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ty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711CD9B-9F81-6C15-847F-417232804E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0854395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484" imgH="486" progId="TCLayout.ActiveDocument.1">
                  <p:embed/>
                </p:oleObj>
              </mc:Choice>
              <mc:Fallback>
                <p:oleObj name="Diapositive think-cell" r:id="rId3" imgW="484" imgH="4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711CD9B-9F81-6C15-847F-417232804E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8971528" y="10950867"/>
            <a:ext cx="579578" cy="20301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r" defTabSz="15078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GB" sz="1319" b="0" i="0" u="none" strike="noStrike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pPr>
              <a:defRPr/>
            </a:pPr>
            <a:r>
              <a:rPr lang="fr-FR"/>
              <a:t>| </a:t>
            </a:r>
            <a:fld id="{E81B8D95-AA0C-433D-B79A-00E7CF97219C}" type="slidenum">
              <a:rPr lang="fr-FR" smtClean="0"/>
              <a:pPr>
                <a:defRPr/>
              </a:pPr>
              <a:t>‹N°›</a:t>
            </a:fld>
            <a:endParaRPr lang="fr-FR"/>
          </a:p>
        </p:txBody>
      </p:sp>
      <p:cxnSp>
        <p:nvCxnSpPr>
          <p:cNvPr id="6" name="Connecteur droit 5">
            <a:extLst>
              <a:ext uri="{FF2B5EF4-FFF2-40B4-BE49-F238E27FC236}">
                <a16:creationId xmlns:a16="http://schemas.microsoft.com/office/drawing/2014/main" id="{481E4BC0-81C8-6B5F-C731-3C6CFEF90873}"/>
              </a:ext>
            </a:extLst>
          </p:cNvPr>
          <p:cNvCxnSpPr>
            <a:cxnSpLocks/>
          </p:cNvCxnSpPr>
          <p:nvPr userDrawn="1"/>
        </p:nvCxnSpPr>
        <p:spPr>
          <a:xfrm>
            <a:off x="1184308" y="0"/>
            <a:ext cx="0" cy="1394414"/>
          </a:xfrm>
          <a:prstGeom prst="line">
            <a:avLst/>
          </a:prstGeom>
          <a:ln w="12700"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Image 6">
            <a:extLst>
              <a:ext uri="{FF2B5EF4-FFF2-40B4-BE49-F238E27FC236}">
                <a16:creationId xmlns:a16="http://schemas.microsoft.com/office/drawing/2014/main" id="{135696E5-8BD3-70A5-6C50-F033D55389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719" b="25843"/>
          <a:stretch/>
        </p:blipFill>
        <p:spPr>
          <a:xfrm>
            <a:off x="537750" y="10170264"/>
            <a:ext cx="2000790" cy="1009233"/>
          </a:xfrm>
          <a:prstGeom prst="rect">
            <a:avLst/>
          </a:prstGeom>
        </p:spPr>
      </p:pic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EF6EC909-7E53-E1C7-B291-B92DEA33C26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50983" y="544928"/>
            <a:ext cx="13653375" cy="557164"/>
          </a:xfrm>
          <a:prstGeom prst="rect">
            <a:avLst/>
          </a:prstGeom>
        </p:spPr>
        <p:txBody>
          <a:bodyPr/>
          <a:lstStyle>
            <a:lvl1pPr marL="0" indent="0" algn="l" rtl="0" fontAlgn="base">
              <a:spcBef>
                <a:spcPct val="0"/>
              </a:spcBef>
              <a:spcAft>
                <a:spcPts val="0"/>
              </a:spcAft>
              <a:buClr>
                <a:schemeClr val="accent1"/>
              </a:buClr>
              <a:buNone/>
              <a:defRPr lang="fr-FR" sz="3298" b="1" kern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1pPr>
            <a:lvl2pPr marL="0" indent="0">
              <a:buNone/>
              <a:defRPr b="1">
                <a:solidFill>
                  <a:schemeClr val="accent1"/>
                </a:solidFill>
              </a:defRPr>
            </a:lvl2pPr>
          </a:lstStyle>
          <a:p>
            <a:pPr lvl="0"/>
            <a:r>
              <a:rPr lang="fr-FR"/>
              <a:t>Titre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C12E14B6-FAD6-9A14-4E7B-3696542EC8B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50744" y="1096949"/>
            <a:ext cx="13653375" cy="471223"/>
          </a:xfrm>
          <a:prstGeom prst="rect">
            <a:avLst/>
          </a:prstGeom>
        </p:spPr>
        <p:txBody>
          <a:bodyPr/>
          <a:lstStyle>
            <a:lvl1pPr marL="0" indent="0" rtl="0"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 b="1"/>
            </a:lvl2pPr>
            <a:lvl3pPr marL="293192" indent="0">
              <a:buNone/>
              <a:defRPr b="1"/>
            </a:lvl3pPr>
            <a:lvl4pPr marL="591620" indent="0">
              <a:buNone/>
              <a:defRPr b="1"/>
            </a:lvl4pPr>
            <a:lvl5pPr marL="884812" indent="0">
              <a:buNone/>
              <a:defRPr b="1"/>
            </a:lvl5pPr>
          </a:lstStyle>
          <a:p>
            <a:pPr lvl="0"/>
            <a:r>
              <a:rPr lang="fr-FR"/>
              <a:t>Sous-titre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75CA1320-945E-2989-6243-87F5B5C71AD1}"/>
              </a:ext>
            </a:extLst>
          </p:cNvPr>
          <p:cNvSpPr txBox="1"/>
          <p:nvPr userDrawn="1"/>
        </p:nvSpPr>
        <p:spPr bwMode="auto">
          <a:xfrm>
            <a:off x="4772001" y="10709501"/>
            <a:ext cx="107977" cy="296833"/>
          </a:xfrm>
          <a:prstGeom prst="rect">
            <a:avLst/>
          </a:prstGeom>
        </p:spPr>
        <p:txBody>
          <a:bodyPr lIns="59363" tIns="59363" rIns="59363" bIns="59363" anchor="ctr"/>
          <a:lstStyle>
            <a:lvl1pPr marL="180975" marR="0" lvl="0" indent="-180975" defTabSz="914400" eaLnBrk="1" latinLnBrk="0" hangingPunct="1">
              <a:lnSpc>
                <a:spcPct val="100000"/>
              </a:lnSpc>
              <a:buClrTx/>
              <a:buSzTx/>
              <a:buFont typeface="Arial" panose="020B0604020202020204" pitchFamily="34" charset="0"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</a:defRPr>
            </a:lvl1pPr>
            <a:lvl2pPr marL="177800" indent="-177800" eaLnBrk="1" hangingPunct="1">
              <a:lnSpc>
                <a:spcPct val="100000"/>
              </a:lnSpc>
              <a:spcAft>
                <a:spcPts val="0"/>
              </a:spcAft>
              <a:buClr>
                <a:schemeClr val="accent1"/>
              </a:buClr>
              <a:buChar char="•"/>
              <a:defRPr sz="1600">
                <a:latin typeface="+mn-lt"/>
              </a:defRPr>
            </a:lvl2pPr>
            <a:lvl3pPr marL="358775" indent="-180975" eaLnBrk="1" hangingPunct="1">
              <a:lnSpc>
                <a:spcPct val="100000"/>
              </a:lnSpc>
              <a:spcAft>
                <a:spcPts val="0"/>
              </a:spcAft>
              <a:buClr>
                <a:schemeClr val="accent1"/>
              </a:buClr>
              <a:buFont typeface="Arial Unicode MS" panose="020B0604020202020204" pitchFamily="34" charset="-128"/>
              <a:buChar char="ｰ"/>
              <a:defRPr sz="1600">
                <a:latin typeface="+mn-lt"/>
              </a:defRPr>
            </a:lvl3pPr>
            <a:lvl4pPr marL="536575" indent="-177800" eaLnBrk="1" hangingPunct="1">
              <a:lnSpc>
                <a:spcPct val="100000"/>
              </a:lnSpc>
              <a:spcAft>
                <a:spcPts val="0"/>
              </a:spcAft>
              <a:buClr>
                <a:schemeClr val="accent1"/>
              </a:buClr>
              <a:buFont typeface="Arial Unicode MS" panose="020B0604020202020204" pitchFamily="34" charset="-128"/>
              <a:buChar char="-"/>
              <a:defRPr sz="1600">
                <a:latin typeface="+mn-lt"/>
              </a:defRPr>
            </a:lvl4pPr>
            <a:lvl5pPr marL="717550" indent="-180975" eaLnBrk="1" hangingPunct="1">
              <a:lnSpc>
                <a:spcPct val="100000"/>
              </a:lnSpc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lang="de-CH" sz="1600" dirty="0">
                <a:latin typeface="+mn-lt"/>
              </a:defRPr>
            </a:lvl5pPr>
            <a:lvl6pPr marL="2674938" indent="-201613" fontAlgn="base">
              <a:lnSpc>
                <a:spcPts val="2700"/>
              </a:lnSpc>
              <a:spcBef>
                <a:spcPct val="0"/>
              </a:spcBef>
              <a:spcAft>
                <a:spcPct val="40000"/>
              </a:spcAft>
              <a:buClr>
                <a:schemeClr val="tx2"/>
              </a:buClr>
              <a:buFont typeface="Times" pitchFamily="18" charset="0"/>
              <a:buChar char="»"/>
              <a:defRPr sz="2400">
                <a:latin typeface="+mn-lt"/>
              </a:defRPr>
            </a:lvl6pPr>
            <a:lvl7pPr marL="3132138" indent="-201613" fontAlgn="base">
              <a:lnSpc>
                <a:spcPts val="2700"/>
              </a:lnSpc>
              <a:spcBef>
                <a:spcPct val="0"/>
              </a:spcBef>
              <a:spcAft>
                <a:spcPct val="40000"/>
              </a:spcAft>
              <a:buClr>
                <a:schemeClr val="tx2"/>
              </a:buClr>
              <a:buFont typeface="Times" pitchFamily="18" charset="0"/>
              <a:buChar char="»"/>
              <a:defRPr sz="2400">
                <a:latin typeface="+mn-lt"/>
              </a:defRPr>
            </a:lvl7pPr>
            <a:lvl8pPr marL="3589338" indent="-201613" fontAlgn="base">
              <a:lnSpc>
                <a:spcPts val="2700"/>
              </a:lnSpc>
              <a:spcBef>
                <a:spcPct val="0"/>
              </a:spcBef>
              <a:spcAft>
                <a:spcPct val="40000"/>
              </a:spcAft>
              <a:buClr>
                <a:schemeClr val="tx2"/>
              </a:buClr>
              <a:buFont typeface="Times" pitchFamily="18" charset="0"/>
              <a:buChar char="»"/>
              <a:defRPr sz="2400">
                <a:latin typeface="+mn-lt"/>
              </a:defRPr>
            </a:lvl8pPr>
            <a:lvl9pPr marL="4046538" indent="-201613" fontAlgn="base">
              <a:lnSpc>
                <a:spcPts val="2700"/>
              </a:lnSpc>
              <a:spcBef>
                <a:spcPct val="0"/>
              </a:spcBef>
              <a:spcAft>
                <a:spcPct val="40000"/>
              </a:spcAft>
              <a:buClr>
                <a:schemeClr val="tx2"/>
              </a:buClr>
              <a:buFont typeface="Times" pitchFamily="18" charset="0"/>
              <a:buChar char="»"/>
              <a:defRPr sz="2400">
                <a:latin typeface="+mn-lt"/>
              </a:defRPr>
            </a:lvl9pPr>
          </a:lstStyle>
          <a:p>
            <a:pPr lvl="0" algn="ctr" rtl="0"/>
            <a:r>
              <a:rPr lang="fr-FR" sz="1319"/>
              <a:t>|</a:t>
            </a:r>
          </a:p>
        </p:txBody>
      </p:sp>
      <p:sp>
        <p:nvSpPr>
          <p:cNvPr id="20" name="Espace réservé du texte 19">
            <a:extLst>
              <a:ext uri="{FF2B5EF4-FFF2-40B4-BE49-F238E27FC236}">
                <a16:creationId xmlns:a16="http://schemas.microsoft.com/office/drawing/2014/main" id="{E58577BB-1DB3-122B-7F37-A140DA64756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92963" y="10709501"/>
            <a:ext cx="10939016" cy="296833"/>
          </a:xfrm>
          <a:prstGeom prst="rect">
            <a:avLst/>
          </a:prstGeom>
        </p:spPr>
        <p:txBody>
          <a:bodyPr lIns="36000" tIns="36000" rIns="36000" bIns="36000"/>
          <a:lstStyle>
            <a:lvl1pPr marL="0" indent="0" rtl="0">
              <a:buNone/>
              <a:defRPr kumimoji="0" lang="fr-FR" sz="1319" b="0" i="0" u="none" strike="noStrike" kern="1200" cap="none" spc="0" normalizeH="0" baseline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98428" lvl="0" indent="-298428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989"/>
              </a:spcAft>
              <a:buClr>
                <a:schemeClr val="accent1"/>
              </a:buClr>
            </a:pPr>
            <a:r>
              <a:rPr lang="fr-FR"/>
              <a:t>Nom de la séquence et date</a:t>
            </a:r>
          </a:p>
        </p:txBody>
      </p:sp>
    </p:spTree>
    <p:extLst>
      <p:ext uri="{BB962C8B-B14F-4D97-AF65-F5344CB8AC3E}">
        <p14:creationId xmlns:p14="http://schemas.microsoft.com/office/powerpoint/2010/main" val="327533960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calaire #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99FA4A1-A342-B989-1DE4-1BC2503677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1993715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484" imgH="486" progId="TCLayout.ActiveDocument.1">
                  <p:embed/>
                </p:oleObj>
              </mc:Choice>
              <mc:Fallback>
                <p:oleObj name="Diapositive think-cell" r:id="rId3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9FA4A1-A342-B989-1DE4-1BC2503677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C9E5E7C-AE32-FB4C-A7D5-763D0651E40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r>
              <a:rPr lang="fr-FR"/>
              <a:t>| </a:t>
            </a:r>
            <a:fld id="{E81B8D95-AA0C-433D-B79A-00E7CF97219C}" type="slidenum">
              <a:rPr lang="fr-FR" smtClean="0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313D8E5-ED99-2967-39BC-D930AB51CA23}"/>
              </a:ext>
            </a:extLst>
          </p:cNvPr>
          <p:cNvSpPr/>
          <p:nvPr userDrawn="1"/>
        </p:nvSpPr>
        <p:spPr bwMode="auto">
          <a:xfrm>
            <a:off x="0" y="0"/>
            <a:ext cx="9894987" cy="11309350"/>
          </a:xfrm>
          <a:prstGeom prst="rect">
            <a:avLst/>
          </a:prstGeom>
          <a:solidFill>
            <a:schemeClr val="accent1"/>
          </a:solidFill>
          <a:ln w="12700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59363" tIns="59363" rIns="59363" bIns="5936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98428" marR="0" lvl="0" indent="-298428" algn="ctr" defTabSz="15078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-FR" sz="296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5E6C6C8-4EBC-5940-1AA3-E42EF63E73F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4182" y="5082664"/>
            <a:ext cx="9486622" cy="116735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rtl="0">
              <a:buNone/>
              <a:defRPr kumimoji="0" lang="fr-FR" sz="6596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98428" marR="0" lvl="0" indent="-298428" algn="l" defTabSz="15078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FF6600"/>
              </a:buClr>
              <a:buSzTx/>
              <a:tabLst/>
              <a:defRPr/>
            </a:pPr>
            <a:r>
              <a:rPr lang="fr-FR"/>
              <a:t>Titre de la section</a:t>
            </a:r>
          </a:p>
        </p:txBody>
      </p:sp>
      <p:pic>
        <p:nvPicPr>
          <p:cNvPr id="2" name="Image 1" descr="Une image contenant texte, personne, intérieur&#10;&#10;Description générée automatiquement">
            <a:extLst>
              <a:ext uri="{FF2B5EF4-FFF2-40B4-BE49-F238E27FC236}">
                <a16:creationId xmlns:a16="http://schemas.microsoft.com/office/drawing/2014/main" id="{75045309-3C50-8D92-D60E-3F1D42EF67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24" r="14334"/>
          <a:stretch/>
        </p:blipFill>
        <p:spPr>
          <a:xfrm>
            <a:off x="9894989" y="3"/>
            <a:ext cx="10209113" cy="11309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68191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_Titel_Untertitel_Inhaltsplatzspeic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B33ED23-0356-219C-BF61-DD78CD059A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8882666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484" imgH="486" progId="TCLayout.ActiveDocument.1">
                  <p:embed/>
                </p:oleObj>
              </mc:Choice>
              <mc:Fallback>
                <p:oleObj name="Diapositive think-cell" r:id="rId3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B33ED23-0356-219C-BF61-DD78CD059A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0" hasCustomPrompt="1"/>
          </p:nvPr>
        </p:nvSpPr>
        <p:spPr>
          <a:xfrm>
            <a:off x="554154" y="1856096"/>
            <a:ext cx="18992577" cy="2030185"/>
          </a:xfrm>
          <a:prstGeom prst="rect">
            <a:avLst/>
          </a:prstGeom>
        </p:spPr>
        <p:txBody>
          <a:bodyPr/>
          <a:lstStyle>
            <a:lvl1pPr marL="298428" indent="-298428" rtl="0">
              <a:buFont typeface="Arial" panose="020B0604020202020204" pitchFamily="34" charset="0"/>
              <a:buChar char="•"/>
              <a:defRPr/>
            </a:lvl1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FR" err="1"/>
              <a:t>Text</a:t>
            </a:r>
            <a:r>
              <a:rPr lang="fr-FR"/>
              <a:t> </a:t>
            </a:r>
            <a:r>
              <a:rPr lang="fr-FR" err="1"/>
              <a:t>durch</a:t>
            </a:r>
            <a:r>
              <a:rPr lang="fr-FR"/>
              <a:t> </a:t>
            </a:r>
            <a:r>
              <a:rPr lang="fr-FR" err="1"/>
              <a:t>Klicken</a:t>
            </a:r>
            <a:r>
              <a:rPr lang="fr-FR"/>
              <a:t> </a:t>
            </a:r>
            <a:r>
              <a:rPr lang="fr-FR" err="1"/>
              <a:t>hinzufügen</a:t>
            </a:r>
            <a:endParaRPr lang="fr-FR"/>
          </a:p>
          <a:p>
            <a:pPr lvl="2"/>
            <a:r>
              <a:rPr lang="fr-FR" err="1"/>
              <a:t>Zwei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  <a:p>
            <a:pPr lvl="3"/>
            <a:r>
              <a:rPr lang="fr-FR" err="1"/>
              <a:t>Drit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  <a:p>
            <a:pPr lvl="4"/>
            <a:r>
              <a:rPr lang="fr-FR" err="1"/>
              <a:t>Vier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5265" y="1226082"/>
            <a:ext cx="1461989" cy="478648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36000" rIns="36000" bIns="36000" anchor="ctr" anchorCtr="0">
            <a:spAutoFit/>
          </a:bodyPr>
          <a:lstStyle>
            <a:lvl1pPr marL="0" indent="0" rtl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err="1"/>
              <a:t>Untertitel</a:t>
            </a:r>
            <a:endParaRPr lang="fr-FR"/>
          </a:p>
        </p:txBody>
      </p:sp>
      <p:sp>
        <p:nvSpPr>
          <p:cNvPr id="6" name="Fußzeilenplatzhalter 24"/>
          <p:cNvSpPr txBox="1">
            <a:spLocks/>
          </p:cNvSpPr>
          <p:nvPr userDrawn="1"/>
        </p:nvSpPr>
        <p:spPr>
          <a:xfrm>
            <a:off x="2375580" y="10950866"/>
            <a:ext cx="12584401" cy="20300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898989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15078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319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0" name="Eingekerbter Richtungspfeil 2"/>
          <p:cNvSpPr/>
          <p:nvPr userDrawn="1"/>
        </p:nvSpPr>
        <p:spPr bwMode="auto">
          <a:xfrm>
            <a:off x="183535" y="10907721"/>
            <a:ext cx="146126" cy="237467"/>
          </a:xfrm>
          <a:prstGeom prst="chevron">
            <a:avLst>
              <a:gd name="adj" fmla="val 60698"/>
            </a:avLst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vert="horz" lIns="0" tIns="0" rIns="0" bIns="0" rtlCol="0" anchor="ctr" anchorCtr="1"/>
          <a:lstStyle/>
          <a:p>
            <a:pPr algn="ctr" rtl="0" eaLnBrk="0" hangingPunct="0"/>
            <a:endParaRPr lang="fr-FR" sz="2638"/>
          </a:p>
        </p:txBody>
      </p:sp>
      <p:sp>
        <p:nvSpPr>
          <p:cNvPr id="15" name="Date Placeholder 5"/>
          <p:cNvSpPr>
            <a:spLocks noGrp="1"/>
          </p:cNvSpPr>
          <p:nvPr>
            <p:ph type="dt" sz="half" idx="2"/>
          </p:nvPr>
        </p:nvSpPr>
        <p:spPr>
          <a:xfrm>
            <a:off x="17889397" y="10950867"/>
            <a:ext cx="1397797" cy="25123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rtl="0">
              <a:defRPr kumimoji="0" lang="en-GB" sz="1633" b="0" i="0" u="none" strike="noStrike" cap="none" spc="0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fld id="{70D760A1-F798-4D8B-8143-93308C5619D6}" type="datetime1">
              <a:rPr lang="en-US" smtClean="0"/>
              <a:t>11/19/2025</a:t>
            </a:fld>
            <a:endParaRPr lang="fr-FR"/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8971528" y="10950866"/>
            <a:ext cx="579578" cy="2512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r" defTabSz="15078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GB" sz="1319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defRPr>
            </a:lvl1pPr>
          </a:lstStyle>
          <a:p>
            <a:pPr>
              <a:defRPr/>
            </a:pPr>
            <a:r>
              <a:rPr lang="fr-FR"/>
              <a:t>| </a:t>
            </a:r>
            <a:fld id="{E81B8D95-AA0C-433D-B79A-00E7CF97219C}" type="slidenum">
              <a:rPr lang="fr-FR" sz="1633" smtClean="0"/>
              <a:pPr>
                <a:defRPr/>
              </a:pPr>
              <a:t>‹N°›</a:t>
            </a:fld>
            <a:endParaRPr lang="fr-FR" sz="1633"/>
          </a:p>
        </p:txBody>
      </p:sp>
    </p:spTree>
    <p:extLst>
      <p:ext uri="{BB962C8B-B14F-4D97-AF65-F5344CB8AC3E}">
        <p14:creationId xmlns:p14="http://schemas.microsoft.com/office/powerpoint/2010/main" val="428013411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_Titel_Untertitel_Inhaltsplatzspeic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F614375-A36E-E4F5-74F1-BBC14D7EA9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0506819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484" imgH="486" progId="TCLayout.ActiveDocument.1">
                  <p:embed/>
                </p:oleObj>
              </mc:Choice>
              <mc:Fallback>
                <p:oleObj name="Diapositive think-cell" r:id="rId3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F614375-A36E-E4F5-74F1-BBC14D7EA9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0" hasCustomPrompt="1"/>
          </p:nvPr>
        </p:nvSpPr>
        <p:spPr>
          <a:xfrm>
            <a:off x="554154" y="1856096"/>
            <a:ext cx="18992577" cy="2030185"/>
          </a:xfrm>
          <a:prstGeom prst="rect">
            <a:avLst/>
          </a:prstGeom>
        </p:spPr>
        <p:txBody>
          <a:bodyPr/>
          <a:lstStyle>
            <a:lvl1pPr marL="298428" indent="-298428" rtl="0">
              <a:buFont typeface="Arial" panose="020B0604020202020204" pitchFamily="34" charset="0"/>
              <a:buChar char="•"/>
              <a:defRPr/>
            </a:lvl1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FR" err="1"/>
              <a:t>Text</a:t>
            </a:r>
            <a:r>
              <a:rPr lang="fr-FR"/>
              <a:t> </a:t>
            </a:r>
            <a:r>
              <a:rPr lang="fr-FR" err="1"/>
              <a:t>durch</a:t>
            </a:r>
            <a:r>
              <a:rPr lang="fr-FR"/>
              <a:t> </a:t>
            </a:r>
            <a:r>
              <a:rPr lang="fr-FR" err="1"/>
              <a:t>Klicken</a:t>
            </a:r>
            <a:r>
              <a:rPr lang="fr-FR"/>
              <a:t> </a:t>
            </a:r>
            <a:r>
              <a:rPr lang="fr-FR" err="1"/>
              <a:t>hinzufügen</a:t>
            </a:r>
            <a:endParaRPr lang="fr-FR"/>
          </a:p>
          <a:p>
            <a:pPr lvl="2"/>
            <a:r>
              <a:rPr lang="fr-FR" err="1"/>
              <a:t>Zwei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  <a:p>
            <a:pPr lvl="3"/>
            <a:r>
              <a:rPr lang="fr-FR" err="1"/>
              <a:t>Drit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  <a:p>
            <a:pPr lvl="4"/>
            <a:r>
              <a:rPr lang="fr-FR" err="1"/>
              <a:t>Vier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5265" y="1226082"/>
            <a:ext cx="1461989" cy="478648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36000" rIns="36000" bIns="36000" anchor="ctr" anchorCtr="0">
            <a:spAutoFit/>
          </a:bodyPr>
          <a:lstStyle>
            <a:lvl1pPr marL="0" indent="0" rtl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err="1"/>
              <a:t>Untertitel</a:t>
            </a:r>
            <a:endParaRPr lang="fr-FR"/>
          </a:p>
        </p:txBody>
      </p:sp>
      <p:sp>
        <p:nvSpPr>
          <p:cNvPr id="6" name="Fußzeilenplatzhalter 24"/>
          <p:cNvSpPr txBox="1">
            <a:spLocks/>
          </p:cNvSpPr>
          <p:nvPr userDrawn="1"/>
        </p:nvSpPr>
        <p:spPr>
          <a:xfrm>
            <a:off x="2375580" y="10950866"/>
            <a:ext cx="12584401" cy="20300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898989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15078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319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0" name="Eingekerbter Richtungspfeil 2"/>
          <p:cNvSpPr/>
          <p:nvPr userDrawn="1"/>
        </p:nvSpPr>
        <p:spPr bwMode="auto">
          <a:xfrm>
            <a:off x="183535" y="10907721"/>
            <a:ext cx="146126" cy="237467"/>
          </a:xfrm>
          <a:prstGeom prst="chevron">
            <a:avLst>
              <a:gd name="adj" fmla="val 60698"/>
            </a:avLst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vert="horz" lIns="0" tIns="0" rIns="0" bIns="0" rtlCol="0" anchor="ctr" anchorCtr="1"/>
          <a:lstStyle/>
          <a:p>
            <a:pPr algn="ctr" rtl="0" eaLnBrk="0" hangingPunct="0"/>
            <a:endParaRPr lang="fr-FR" sz="2638"/>
          </a:p>
        </p:txBody>
      </p:sp>
      <p:pic>
        <p:nvPicPr>
          <p:cNvPr id="14" name="Picture 135"/>
          <p:cNvPicPr>
            <a:picLocks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155" y="10932353"/>
            <a:ext cx="1007538" cy="182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Date Placeholder 5"/>
          <p:cNvSpPr>
            <a:spLocks noGrp="1"/>
          </p:cNvSpPr>
          <p:nvPr>
            <p:ph type="dt" sz="half" idx="2"/>
          </p:nvPr>
        </p:nvSpPr>
        <p:spPr>
          <a:xfrm>
            <a:off x="17889397" y="10950867"/>
            <a:ext cx="1397797" cy="25123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rtl="0">
              <a:defRPr kumimoji="0" lang="en-GB" sz="1633" b="0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defRPr>
            </a:lvl1pPr>
          </a:lstStyle>
          <a:p>
            <a:fld id="{826F3E8A-C575-4672-A8F5-D16E636ECDC5}" type="datetime1">
              <a:rPr lang="en-US" smtClean="0"/>
              <a:t>11/19/2025</a:t>
            </a:fld>
            <a:endParaRPr lang="fr-FR"/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8971528" y="10950866"/>
            <a:ext cx="579578" cy="2512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r" defTabSz="15078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GB" sz="1319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defRPr>
            </a:lvl1pPr>
          </a:lstStyle>
          <a:p>
            <a:pPr>
              <a:defRPr/>
            </a:pPr>
            <a:r>
              <a:rPr lang="fr-FR"/>
              <a:t>| </a:t>
            </a:r>
            <a:fld id="{E81B8D95-AA0C-433D-B79A-00E7CF97219C}" type="slidenum">
              <a:rPr lang="fr-FR" sz="1633" smtClean="0"/>
              <a:pPr>
                <a:defRPr/>
              </a:pPr>
              <a:t>‹N°›</a:t>
            </a:fld>
            <a:endParaRPr lang="fr-FR" sz="1633"/>
          </a:p>
        </p:txBody>
      </p:sp>
    </p:spTree>
    <p:extLst>
      <p:ext uri="{BB962C8B-B14F-4D97-AF65-F5344CB8AC3E}">
        <p14:creationId xmlns:p14="http://schemas.microsoft.com/office/powerpoint/2010/main" val="370531550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calaire #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99FA4A1-A342-B989-1DE4-1BC2503677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1993715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484" imgH="486" progId="TCLayout.ActiveDocument.1">
                  <p:embed/>
                </p:oleObj>
              </mc:Choice>
              <mc:Fallback>
                <p:oleObj name="Diapositive think-cell" r:id="rId3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9FA4A1-A342-B989-1DE4-1BC2503677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C9E5E7C-AE32-FB4C-A7D5-763D0651E40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r>
              <a:rPr lang="fr-FR"/>
              <a:t>| </a:t>
            </a:r>
            <a:fld id="{E81B8D95-AA0C-433D-B79A-00E7CF97219C}" type="slidenum">
              <a:rPr lang="fr-FR" smtClean="0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313D8E5-ED99-2967-39BC-D930AB51CA23}"/>
              </a:ext>
            </a:extLst>
          </p:cNvPr>
          <p:cNvSpPr/>
          <p:nvPr userDrawn="1"/>
        </p:nvSpPr>
        <p:spPr bwMode="auto">
          <a:xfrm>
            <a:off x="0" y="0"/>
            <a:ext cx="9894987" cy="11309350"/>
          </a:xfrm>
          <a:prstGeom prst="rect">
            <a:avLst/>
          </a:prstGeom>
          <a:solidFill>
            <a:schemeClr val="accent1"/>
          </a:solidFill>
          <a:ln w="12700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59363" tIns="59363" rIns="59363" bIns="5936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98428" marR="0" lvl="0" indent="-298428" algn="ctr" defTabSz="15078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-FR" sz="296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5E6C6C8-4EBC-5940-1AA3-E42EF63E73F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4182" y="5082664"/>
            <a:ext cx="9486622" cy="116735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rtl="0">
              <a:buNone/>
              <a:defRPr kumimoji="0" lang="fr-FR" sz="6596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98428" marR="0" lvl="0" indent="-298428" algn="l" defTabSz="15078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FF6600"/>
              </a:buClr>
              <a:buSzTx/>
              <a:tabLst/>
              <a:defRPr/>
            </a:pPr>
            <a:r>
              <a:rPr lang="fr-FR"/>
              <a:t>Titre de la section</a:t>
            </a:r>
          </a:p>
        </p:txBody>
      </p:sp>
      <p:pic>
        <p:nvPicPr>
          <p:cNvPr id="2" name="Image 1" descr="Une image contenant texte, personne, intérieur&#10;&#10;Description générée automatiquement">
            <a:extLst>
              <a:ext uri="{FF2B5EF4-FFF2-40B4-BE49-F238E27FC236}">
                <a16:creationId xmlns:a16="http://schemas.microsoft.com/office/drawing/2014/main" id="{75045309-3C50-8D92-D60E-3F1D42EF67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24" r="14334"/>
          <a:stretch/>
        </p:blipFill>
        <p:spPr>
          <a:xfrm>
            <a:off x="9894989" y="3"/>
            <a:ext cx="10209113" cy="11309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46517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_Titel_Untertitel_Inhaltsplatzspeic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B33ED23-0356-219C-BF61-DD78CD059A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8882666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484" imgH="486" progId="TCLayout.ActiveDocument.1">
                  <p:embed/>
                </p:oleObj>
              </mc:Choice>
              <mc:Fallback>
                <p:oleObj name="Diapositive think-cell" r:id="rId3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B33ED23-0356-219C-BF61-DD78CD059A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0" hasCustomPrompt="1"/>
          </p:nvPr>
        </p:nvSpPr>
        <p:spPr>
          <a:xfrm>
            <a:off x="554154" y="1856096"/>
            <a:ext cx="18992577" cy="2030185"/>
          </a:xfrm>
          <a:prstGeom prst="rect">
            <a:avLst/>
          </a:prstGeom>
        </p:spPr>
        <p:txBody>
          <a:bodyPr/>
          <a:lstStyle>
            <a:lvl1pPr marL="298428" indent="-298428" rtl="0">
              <a:buFont typeface="Arial" panose="020B0604020202020204" pitchFamily="34" charset="0"/>
              <a:buChar char="•"/>
              <a:defRPr/>
            </a:lvl1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FR" err="1"/>
              <a:t>Text</a:t>
            </a:r>
            <a:r>
              <a:rPr lang="fr-FR"/>
              <a:t> </a:t>
            </a:r>
            <a:r>
              <a:rPr lang="fr-FR" err="1"/>
              <a:t>durch</a:t>
            </a:r>
            <a:r>
              <a:rPr lang="fr-FR"/>
              <a:t> </a:t>
            </a:r>
            <a:r>
              <a:rPr lang="fr-FR" err="1"/>
              <a:t>Klicken</a:t>
            </a:r>
            <a:r>
              <a:rPr lang="fr-FR"/>
              <a:t> </a:t>
            </a:r>
            <a:r>
              <a:rPr lang="fr-FR" err="1"/>
              <a:t>hinzufügen</a:t>
            </a:r>
            <a:endParaRPr lang="fr-FR"/>
          </a:p>
          <a:p>
            <a:pPr lvl="2"/>
            <a:r>
              <a:rPr lang="fr-FR" err="1"/>
              <a:t>Zwei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  <a:p>
            <a:pPr lvl="3"/>
            <a:r>
              <a:rPr lang="fr-FR" err="1"/>
              <a:t>Drit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  <a:p>
            <a:pPr lvl="4"/>
            <a:r>
              <a:rPr lang="fr-FR" err="1"/>
              <a:t>Vier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5265" y="1226082"/>
            <a:ext cx="1461989" cy="478648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36000" rIns="36000" bIns="36000" anchor="ctr" anchorCtr="0">
            <a:spAutoFit/>
          </a:bodyPr>
          <a:lstStyle>
            <a:lvl1pPr marL="0" indent="0" rtl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err="1"/>
              <a:t>Untertitel</a:t>
            </a:r>
            <a:endParaRPr lang="fr-FR"/>
          </a:p>
        </p:txBody>
      </p:sp>
      <p:sp>
        <p:nvSpPr>
          <p:cNvPr id="6" name="Fußzeilenplatzhalter 24"/>
          <p:cNvSpPr txBox="1">
            <a:spLocks/>
          </p:cNvSpPr>
          <p:nvPr userDrawn="1"/>
        </p:nvSpPr>
        <p:spPr>
          <a:xfrm>
            <a:off x="2375580" y="10950866"/>
            <a:ext cx="12584401" cy="20300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898989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15078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319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0" name="Eingekerbter Richtungspfeil 2"/>
          <p:cNvSpPr/>
          <p:nvPr userDrawn="1"/>
        </p:nvSpPr>
        <p:spPr bwMode="auto">
          <a:xfrm>
            <a:off x="183535" y="10907721"/>
            <a:ext cx="146126" cy="237467"/>
          </a:xfrm>
          <a:prstGeom prst="chevron">
            <a:avLst>
              <a:gd name="adj" fmla="val 60698"/>
            </a:avLst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vert="horz" lIns="0" tIns="0" rIns="0" bIns="0" rtlCol="0" anchor="ctr" anchorCtr="1"/>
          <a:lstStyle/>
          <a:p>
            <a:pPr algn="ctr" rtl="0" eaLnBrk="0" hangingPunct="0"/>
            <a:endParaRPr lang="fr-FR" sz="2638"/>
          </a:p>
        </p:txBody>
      </p:sp>
      <p:sp>
        <p:nvSpPr>
          <p:cNvPr id="15" name="Date Placeholder 5"/>
          <p:cNvSpPr>
            <a:spLocks noGrp="1"/>
          </p:cNvSpPr>
          <p:nvPr>
            <p:ph type="dt" sz="half" idx="2"/>
          </p:nvPr>
        </p:nvSpPr>
        <p:spPr>
          <a:xfrm>
            <a:off x="17889397" y="10950867"/>
            <a:ext cx="1397797" cy="25123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rtl="0">
              <a:defRPr kumimoji="0" lang="en-GB" sz="1633" b="0" i="0" u="none" strike="noStrike" cap="none" spc="0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fld id="{0348E91A-CDC2-4EBA-B078-521A5EB60053}" type="datetime1">
              <a:rPr lang="en-US" smtClean="0"/>
              <a:t>11/19/2025</a:t>
            </a:fld>
            <a:endParaRPr lang="fr-FR"/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8971528" y="10950866"/>
            <a:ext cx="579578" cy="2512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r" defTabSz="15078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GB" sz="1319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defRPr>
            </a:lvl1pPr>
          </a:lstStyle>
          <a:p>
            <a:pPr>
              <a:defRPr/>
            </a:pPr>
            <a:r>
              <a:rPr lang="fr-FR"/>
              <a:t>| </a:t>
            </a:r>
            <a:fld id="{E81B8D95-AA0C-433D-B79A-00E7CF97219C}" type="slidenum">
              <a:rPr lang="fr-FR" sz="1633" smtClean="0"/>
              <a:pPr>
                <a:defRPr/>
              </a:pPr>
              <a:t>‹N°›</a:t>
            </a:fld>
            <a:endParaRPr lang="fr-FR" sz="1633"/>
          </a:p>
        </p:txBody>
      </p:sp>
    </p:spTree>
    <p:extLst>
      <p:ext uri="{BB962C8B-B14F-4D97-AF65-F5344CB8AC3E}">
        <p14:creationId xmlns:p14="http://schemas.microsoft.com/office/powerpoint/2010/main" val="13890675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100" b="1" i="0">
                <a:solidFill>
                  <a:srgbClr val="2F4048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1005205" y="2601150"/>
            <a:ext cx="8745284" cy="74641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10353611" y="2601150"/>
            <a:ext cx="8745284" cy="74641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029DC8-F89B-4EB2-9EFC-2F42FD6BE2FD}" type="datetime1">
              <a:rPr lang="en-US" smtClean="0"/>
              <a:t>11/19/2025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650"/>
              </a:lnSpc>
            </a:pPr>
            <a:fld id="{81D60167-4931-47E6-BA6A-407CBD079E47}" type="slidenum">
              <a:rPr spc="-25" dirty="0"/>
              <a:t>‹N°›</a:t>
            </a:fld>
            <a:endParaRPr spc="-25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_Titel_Untertitel_Inhaltsplatzspeic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F614375-A36E-E4F5-74F1-BBC14D7EA9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0506819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484" imgH="486" progId="TCLayout.ActiveDocument.1">
                  <p:embed/>
                </p:oleObj>
              </mc:Choice>
              <mc:Fallback>
                <p:oleObj name="Diapositive think-cell" r:id="rId3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F614375-A36E-E4F5-74F1-BBC14D7EA9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0" hasCustomPrompt="1"/>
          </p:nvPr>
        </p:nvSpPr>
        <p:spPr>
          <a:xfrm>
            <a:off x="554154" y="1856096"/>
            <a:ext cx="18992577" cy="2030185"/>
          </a:xfrm>
          <a:prstGeom prst="rect">
            <a:avLst/>
          </a:prstGeom>
        </p:spPr>
        <p:txBody>
          <a:bodyPr/>
          <a:lstStyle>
            <a:lvl1pPr marL="298428" indent="-298428" rtl="0">
              <a:buFont typeface="Arial" panose="020B0604020202020204" pitchFamily="34" charset="0"/>
              <a:buChar char="•"/>
              <a:defRPr/>
            </a:lvl1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FR" err="1"/>
              <a:t>Text</a:t>
            </a:r>
            <a:r>
              <a:rPr lang="fr-FR"/>
              <a:t> </a:t>
            </a:r>
            <a:r>
              <a:rPr lang="fr-FR" err="1"/>
              <a:t>durch</a:t>
            </a:r>
            <a:r>
              <a:rPr lang="fr-FR"/>
              <a:t> </a:t>
            </a:r>
            <a:r>
              <a:rPr lang="fr-FR" err="1"/>
              <a:t>Klicken</a:t>
            </a:r>
            <a:r>
              <a:rPr lang="fr-FR"/>
              <a:t> </a:t>
            </a:r>
            <a:r>
              <a:rPr lang="fr-FR" err="1"/>
              <a:t>hinzufügen</a:t>
            </a:r>
            <a:endParaRPr lang="fr-FR"/>
          </a:p>
          <a:p>
            <a:pPr lvl="2"/>
            <a:r>
              <a:rPr lang="fr-FR" err="1"/>
              <a:t>Zwei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  <a:p>
            <a:pPr lvl="3"/>
            <a:r>
              <a:rPr lang="fr-FR" err="1"/>
              <a:t>Drit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  <a:p>
            <a:pPr lvl="4"/>
            <a:r>
              <a:rPr lang="fr-FR" err="1"/>
              <a:t>Vier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5265" y="1226082"/>
            <a:ext cx="1461989" cy="478648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36000" rIns="36000" bIns="36000" anchor="ctr" anchorCtr="0">
            <a:spAutoFit/>
          </a:bodyPr>
          <a:lstStyle>
            <a:lvl1pPr marL="0" indent="0" rtl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err="1"/>
              <a:t>Untertitel</a:t>
            </a:r>
            <a:endParaRPr lang="fr-FR"/>
          </a:p>
        </p:txBody>
      </p:sp>
      <p:sp>
        <p:nvSpPr>
          <p:cNvPr id="6" name="Fußzeilenplatzhalter 24"/>
          <p:cNvSpPr txBox="1">
            <a:spLocks/>
          </p:cNvSpPr>
          <p:nvPr userDrawn="1"/>
        </p:nvSpPr>
        <p:spPr>
          <a:xfrm>
            <a:off x="2375580" y="10950866"/>
            <a:ext cx="12584401" cy="20300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898989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15078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319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0" name="Eingekerbter Richtungspfeil 2"/>
          <p:cNvSpPr/>
          <p:nvPr userDrawn="1"/>
        </p:nvSpPr>
        <p:spPr bwMode="auto">
          <a:xfrm>
            <a:off x="183535" y="10907721"/>
            <a:ext cx="146126" cy="237467"/>
          </a:xfrm>
          <a:prstGeom prst="chevron">
            <a:avLst>
              <a:gd name="adj" fmla="val 60698"/>
            </a:avLst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vert="horz" lIns="0" tIns="0" rIns="0" bIns="0" rtlCol="0" anchor="ctr" anchorCtr="1"/>
          <a:lstStyle/>
          <a:p>
            <a:pPr algn="ctr" rtl="0" eaLnBrk="0" hangingPunct="0"/>
            <a:endParaRPr lang="fr-FR" sz="2638"/>
          </a:p>
        </p:txBody>
      </p:sp>
      <p:pic>
        <p:nvPicPr>
          <p:cNvPr id="14" name="Picture 135"/>
          <p:cNvPicPr>
            <a:picLocks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155" y="10932353"/>
            <a:ext cx="1007538" cy="182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Date Placeholder 5"/>
          <p:cNvSpPr>
            <a:spLocks noGrp="1"/>
          </p:cNvSpPr>
          <p:nvPr>
            <p:ph type="dt" sz="half" idx="2"/>
          </p:nvPr>
        </p:nvSpPr>
        <p:spPr>
          <a:xfrm>
            <a:off x="17889397" y="10950867"/>
            <a:ext cx="1397797" cy="25123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rtl="0">
              <a:defRPr kumimoji="0" lang="en-GB" sz="1633" b="0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defRPr>
            </a:lvl1pPr>
          </a:lstStyle>
          <a:p>
            <a:fld id="{B7F4C44D-AF3F-493C-B3AA-81592345AEC4}" type="datetime1">
              <a:rPr lang="en-US" smtClean="0"/>
              <a:t>11/19/2025</a:t>
            </a:fld>
            <a:endParaRPr lang="fr-FR"/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8971528" y="10950866"/>
            <a:ext cx="579578" cy="2512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r" defTabSz="15078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GB" sz="1319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defRPr>
            </a:lvl1pPr>
          </a:lstStyle>
          <a:p>
            <a:pPr>
              <a:defRPr/>
            </a:pPr>
            <a:r>
              <a:rPr lang="fr-FR"/>
              <a:t>| </a:t>
            </a:r>
            <a:fld id="{E81B8D95-AA0C-433D-B79A-00E7CF97219C}" type="slidenum">
              <a:rPr lang="fr-FR" sz="1633" smtClean="0"/>
              <a:pPr>
                <a:defRPr/>
              </a:pPr>
              <a:t>‹N°›</a:t>
            </a:fld>
            <a:endParaRPr lang="fr-FR" sz="1633"/>
          </a:p>
        </p:txBody>
      </p:sp>
    </p:spTree>
    <p:extLst>
      <p:ext uri="{BB962C8B-B14F-4D97-AF65-F5344CB8AC3E}">
        <p14:creationId xmlns:p14="http://schemas.microsoft.com/office/powerpoint/2010/main" val="932041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ge de ga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Rectangle 4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8750881"/>
              </p:ext>
            </p:extLst>
          </p:nvPr>
        </p:nvGraphicFramePr>
        <p:xfrm>
          <a:off x="2" y="0"/>
          <a:ext cx="322182" cy="2617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0" imgH="0" progId="TCLayout.ActiveDocument.1">
                  <p:embed/>
                </p:oleObj>
              </mc:Choice>
              <mc:Fallback>
                <p:oleObj name="Diapositive think-cell" r:id="rId3" imgW="0" imgH="0" progId="TCLayout.ActiveDocument.1">
                  <p:embed/>
                  <p:pic>
                    <p:nvPicPr>
                      <p:cNvPr id="6" name="Rectangle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322182" cy="2617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7" name="Groupe 16">
            <a:extLst>
              <a:ext uri="{FF2B5EF4-FFF2-40B4-BE49-F238E27FC236}">
                <a16:creationId xmlns:a16="http://schemas.microsoft.com/office/drawing/2014/main" id="{54639045-3AE4-1D18-2500-9E4AE9D23B18}"/>
              </a:ext>
            </a:extLst>
          </p:cNvPr>
          <p:cNvGrpSpPr/>
          <p:nvPr userDrawn="1"/>
        </p:nvGrpSpPr>
        <p:grpSpPr>
          <a:xfrm>
            <a:off x="0" y="0"/>
            <a:ext cx="5520713" cy="11309350"/>
            <a:chOff x="822658" y="0"/>
            <a:chExt cx="3348000" cy="6858000"/>
          </a:xfrm>
        </p:grpSpPr>
        <p:pic>
          <p:nvPicPr>
            <p:cNvPr id="2" name="Image 1" descr="Une image contenant texte&#10;&#10;Description générée automatiquement">
              <a:extLst>
                <a:ext uri="{FF2B5EF4-FFF2-40B4-BE49-F238E27FC236}">
                  <a16:creationId xmlns:a16="http://schemas.microsoft.com/office/drawing/2014/main" id="{B6D1B36D-5173-EB18-DACF-D51099DB26D7}"/>
                </a:ext>
              </a:extLst>
            </p:cNvPr>
            <p:cNvPicPr preferRelativeResize="0">
              <a:picLocks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2658" y="2286000"/>
              <a:ext cx="3348000" cy="2286000"/>
            </a:xfrm>
            <a:prstGeom prst="rect">
              <a:avLst/>
            </a:prstGeom>
          </p:spPr>
        </p:pic>
        <p:pic>
          <p:nvPicPr>
            <p:cNvPr id="3" name="Image 2" descr="Une image contenant texte, personne, debout, vert&#10;&#10;Description générée automatiquement">
              <a:extLst>
                <a:ext uri="{FF2B5EF4-FFF2-40B4-BE49-F238E27FC236}">
                  <a16:creationId xmlns:a16="http://schemas.microsoft.com/office/drawing/2014/main" id="{C06EAF7E-EBEE-2EE8-3BC8-F113844B2CE0}"/>
                </a:ext>
              </a:extLst>
            </p:cNvPr>
            <p:cNvPicPr preferRelativeResize="0">
              <a:picLocks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2658" y="0"/>
              <a:ext cx="3348000" cy="2286000"/>
            </a:xfrm>
            <a:prstGeom prst="rect">
              <a:avLst/>
            </a:prstGeom>
          </p:spPr>
        </p:pic>
        <p:pic>
          <p:nvPicPr>
            <p:cNvPr id="5" name="Image 4" descr="Une image contenant texte, bâtiment&#10;&#10;Description générée automatiquement">
              <a:extLst>
                <a:ext uri="{FF2B5EF4-FFF2-40B4-BE49-F238E27FC236}">
                  <a16:creationId xmlns:a16="http://schemas.microsoft.com/office/drawing/2014/main" id="{82BFE146-18DB-2EE1-3696-B9A52DF372FA}"/>
                </a:ext>
              </a:extLst>
            </p:cNvPr>
            <p:cNvPicPr preferRelativeResize="0">
              <a:picLocks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169" b="11269"/>
            <a:stretch/>
          </p:blipFill>
          <p:spPr>
            <a:xfrm>
              <a:off x="822658" y="4572000"/>
              <a:ext cx="3348000" cy="2286000"/>
            </a:xfrm>
            <a:prstGeom prst="rect">
              <a:avLst/>
            </a:prstGeom>
          </p:spPr>
        </p:pic>
      </p:grpSp>
      <p:grpSp>
        <p:nvGrpSpPr>
          <p:cNvPr id="18" name="Groupe 17">
            <a:extLst>
              <a:ext uri="{FF2B5EF4-FFF2-40B4-BE49-F238E27FC236}">
                <a16:creationId xmlns:a16="http://schemas.microsoft.com/office/drawing/2014/main" id="{83D2477C-D189-6E97-C382-06427F55D0C6}"/>
              </a:ext>
            </a:extLst>
          </p:cNvPr>
          <p:cNvGrpSpPr/>
          <p:nvPr userDrawn="1"/>
        </p:nvGrpSpPr>
        <p:grpSpPr>
          <a:xfrm>
            <a:off x="14583387" y="0"/>
            <a:ext cx="5520713" cy="11309350"/>
            <a:chOff x="8841111" y="0"/>
            <a:chExt cx="3348000" cy="6858000"/>
          </a:xfrm>
        </p:grpSpPr>
        <p:pic>
          <p:nvPicPr>
            <p:cNvPr id="4" name="Image 3" descr="Une image contenant texte, personne&#10;&#10;Description générée automatiquement">
              <a:extLst>
                <a:ext uri="{FF2B5EF4-FFF2-40B4-BE49-F238E27FC236}">
                  <a16:creationId xmlns:a16="http://schemas.microsoft.com/office/drawing/2014/main" id="{8AD92456-9220-0D11-C493-D077DA7A961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41111" y="0"/>
              <a:ext cx="3348000" cy="2286000"/>
            </a:xfrm>
            <a:prstGeom prst="rect">
              <a:avLst/>
            </a:prstGeom>
          </p:spPr>
        </p:pic>
        <p:pic>
          <p:nvPicPr>
            <p:cNvPr id="7" name="Image 6" descr="Une image contenant texte, homme, portable&#10;&#10;Description générée automatiquement">
              <a:extLst>
                <a:ext uri="{FF2B5EF4-FFF2-40B4-BE49-F238E27FC236}">
                  <a16:creationId xmlns:a16="http://schemas.microsoft.com/office/drawing/2014/main" id="{28AC08C2-0DEB-B29B-E793-6A2A19AE988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41111" y="2286000"/>
              <a:ext cx="3348000" cy="2286000"/>
            </a:xfrm>
            <a:prstGeom prst="rect">
              <a:avLst/>
            </a:prstGeom>
          </p:spPr>
        </p:pic>
        <p:pic>
          <p:nvPicPr>
            <p:cNvPr id="8" name="Image 7" descr="Une image contenant texte, personne, intérieur&#10;&#10;Description générée automatiquement">
              <a:extLst>
                <a:ext uri="{FF2B5EF4-FFF2-40B4-BE49-F238E27FC236}">
                  <a16:creationId xmlns:a16="http://schemas.microsoft.com/office/drawing/2014/main" id="{B60874B2-404F-410B-E57D-8AA3A33F787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41111" y="4572000"/>
              <a:ext cx="3348000" cy="2286000"/>
            </a:xfrm>
            <a:prstGeom prst="rect">
              <a:avLst/>
            </a:prstGeom>
          </p:spPr>
        </p:pic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6BEE4203-28EE-3880-05B3-94DA8DDACD3F}"/>
              </a:ext>
            </a:extLst>
          </p:cNvPr>
          <p:cNvSpPr/>
          <p:nvPr userDrawn="1"/>
        </p:nvSpPr>
        <p:spPr bwMode="auto">
          <a:xfrm>
            <a:off x="5520714" y="0"/>
            <a:ext cx="9062673" cy="11309350"/>
          </a:xfrm>
          <a:prstGeom prst="rect">
            <a:avLst/>
          </a:prstGeom>
          <a:solidFill>
            <a:schemeClr val="accent1"/>
          </a:solidFill>
          <a:ln w="12700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59363" tIns="59363" rIns="59363" bIns="5936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98428" marR="0" lvl="0" indent="-298428" algn="ctr" defTabSz="15078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-FR" sz="296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CEF96EB4-A5F1-0CB6-9AAF-E70729E72D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96675" y="1354784"/>
            <a:ext cx="8310750" cy="2185952"/>
          </a:xfrm>
          <a:prstGeom prst="rect">
            <a:avLst/>
          </a:prstGeom>
        </p:spPr>
        <p:txBody>
          <a:bodyPr vert="horz"/>
          <a:lstStyle>
            <a:lvl1pPr algn="ctr" rtl="0">
              <a:defRPr lang="fr-FR" sz="6596" b="1" kern="0" dirty="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</a:lstStyle>
          <a:p>
            <a:pPr marL="0" marR="0" lvl="0" indent="0" algn="ctr" defTabSz="15078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lang="fr-FR" sz="6596" b="1" kern="0">
                <a:solidFill>
                  <a:srgbClr val="FFFFFF"/>
                </a:solidFill>
                <a:latin typeface="Arial"/>
              </a:rPr>
              <a:t>Titre de la présentation</a:t>
            </a:r>
            <a:endParaRPr kumimoji="0" lang="fr-FR" sz="6596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Espace réservé du texte 27">
            <a:extLst>
              <a:ext uri="{FF2B5EF4-FFF2-40B4-BE49-F238E27FC236}">
                <a16:creationId xmlns:a16="http://schemas.microsoft.com/office/drawing/2014/main" id="{34B27EB7-FBCA-4B8B-511D-E7CDFF13163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675" y="4522914"/>
            <a:ext cx="8310750" cy="712400"/>
          </a:xfrm>
          <a:prstGeom prst="rect">
            <a:avLst/>
          </a:prstGeom>
        </p:spPr>
        <p:txBody>
          <a:bodyPr/>
          <a:lstStyle>
            <a:lvl1pPr algn="ctr" rtl="0">
              <a:defRPr lang="fr-FR" sz="3958" b="1" kern="0" dirty="0" smtClean="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algn="ctr">
              <a:defRPr lang="fr-FR" sz="3958" b="1" kern="0" dirty="0" smtClean="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algn="ctr">
              <a:defRPr lang="fr-FR" sz="3958" b="1" kern="0" dirty="0" smtClean="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algn="ctr">
              <a:defRPr lang="fr-FR" sz="3958" b="1" kern="0" dirty="0" smtClean="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algn="ctr">
              <a:defRPr lang="fr-FR" sz="3958" b="1" kern="0" dirty="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Sous-titre</a:t>
            </a:r>
          </a:p>
        </p:txBody>
      </p:sp>
      <p:sp>
        <p:nvSpPr>
          <p:cNvPr id="30" name="Espace réservé du contenu 29">
            <a:extLst>
              <a:ext uri="{FF2B5EF4-FFF2-40B4-BE49-F238E27FC236}">
                <a16:creationId xmlns:a16="http://schemas.microsoft.com/office/drawing/2014/main" id="{FC5E89A2-776E-591F-D3B8-F4E9A312BFE1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5896675" y="9205133"/>
            <a:ext cx="8310750" cy="593667"/>
          </a:xfrm>
          <a:prstGeom prst="rect">
            <a:avLst/>
          </a:prstGeom>
        </p:spPr>
        <p:txBody>
          <a:bodyPr/>
          <a:lstStyle>
            <a:lvl1pPr algn="ctr" rtl="0">
              <a:defRPr kumimoji="0" lang="fr-FR" sz="3298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marL="0" marR="0" lvl="0" indent="0" algn="ctr" defTabSz="15078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lang="fr-FR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28879883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sfoli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A1BAD879-C24E-BA88-FCED-C58BE65548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135690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484" imgH="486" progId="TCLayout.ActiveDocument.1">
                  <p:embed/>
                </p:oleObj>
              </mc:Choice>
              <mc:Fallback>
                <p:oleObj name="Diapositive think-cell" r:id="rId3" imgW="484" imgH="48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BAD879-C24E-BA88-FCED-C58BE65548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57FD85-AC0B-4D14-821D-FE9B94825D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CD24C815-FBC9-4EC7-913F-DE1B0C249CB8}" type="datetime1">
              <a:rPr lang="en-US" smtClean="0"/>
              <a:t>11/19/2025</a:t>
            </a:fld>
            <a:endParaRPr lang="fr-FR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2010953-3546-4290-BA6D-D7F662A3F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fr-FR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B592DEC-4CF7-48F6-B4FE-D0061E31B7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0A6ABA92-B65E-42F5-BB28-73DA50746AE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39" name="Textplatzhalter 38">
            <a:extLst>
              <a:ext uri="{FF2B5EF4-FFF2-40B4-BE49-F238E27FC236}">
                <a16:creationId xmlns:a16="http://schemas.microsoft.com/office/drawing/2014/main" id="{B68999B6-637B-EE55-3B66-EC308CFDA5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64416" y="413628"/>
            <a:ext cx="16906597" cy="1277526"/>
          </a:xfrm>
        </p:spPr>
        <p:txBody>
          <a:bodyPr lIns="0" tIns="0" rIns="0" anchor="ctr" anchorCtr="0"/>
          <a:lstStyle>
            <a:lvl1pPr marL="0" indent="0" rtl="0">
              <a:spcBef>
                <a:spcPts val="0"/>
              </a:spcBef>
              <a:buNone/>
              <a:defRPr sz="3958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2638" b="1">
                <a:solidFill>
                  <a:schemeClr val="accent1"/>
                </a:solidFill>
              </a:defRPr>
            </a:lvl2pPr>
          </a:lstStyle>
          <a:p>
            <a:pPr lvl="0"/>
            <a:r>
              <a:rPr lang="fr-FR" err="1"/>
              <a:t>Titel</a:t>
            </a:r>
            <a:endParaRPr lang="fr-FR"/>
          </a:p>
          <a:p>
            <a:pPr lvl="1"/>
            <a:r>
              <a:rPr lang="fr-FR" err="1"/>
              <a:t>Untertitel</a:t>
            </a:r>
            <a:endParaRPr lang="fr-FR"/>
          </a:p>
        </p:txBody>
      </p:sp>
      <p:sp>
        <p:nvSpPr>
          <p:cNvPr id="53" name="Textplatzhalter 25">
            <a:extLst>
              <a:ext uri="{FF2B5EF4-FFF2-40B4-BE49-F238E27FC236}">
                <a16:creationId xmlns:a16="http://schemas.microsoft.com/office/drawing/2014/main" id="{89370442-751C-DCEF-0015-26E453880FA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64416" y="1691950"/>
            <a:ext cx="16906595" cy="9201833"/>
          </a:xfrm>
          <a:noFill/>
        </p:spPr>
        <p:txBody>
          <a:bodyPr lIns="0" tIns="72000" rIns="0" bIns="0" numCol="1" spcCol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FR" err="1"/>
              <a:t>Mastertextformat</a:t>
            </a:r>
            <a:r>
              <a:rPr lang="fr-FR"/>
              <a:t> </a:t>
            </a:r>
            <a:r>
              <a:rPr lang="fr-FR" err="1"/>
              <a:t>bearbeiten</a:t>
            </a:r>
            <a:endParaRPr lang="fr-FR"/>
          </a:p>
          <a:p>
            <a:pPr lvl="1"/>
            <a:r>
              <a:rPr lang="fr-FR" err="1"/>
              <a:t>Zwei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  <a:p>
            <a:pPr lvl="2"/>
            <a:r>
              <a:rPr lang="fr-FR" err="1"/>
              <a:t>Drit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  <a:p>
            <a:pPr lvl="3"/>
            <a:r>
              <a:rPr lang="fr-FR" err="1"/>
              <a:t>Vier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  <a:p>
            <a:pPr lvl="4"/>
            <a:r>
              <a:rPr lang="fr-FR" err="1"/>
              <a:t>Fünf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</p:txBody>
      </p:sp>
      <p:cxnSp>
        <p:nvCxnSpPr>
          <p:cNvPr id="23" name="Gerade Verbindung 45">
            <a:extLst>
              <a:ext uri="{FF2B5EF4-FFF2-40B4-BE49-F238E27FC236}">
                <a16:creationId xmlns:a16="http://schemas.microsoft.com/office/drawing/2014/main" id="{25CB8C2C-B663-C4FE-0C22-A6D2F0F4E090}"/>
              </a:ext>
            </a:extLst>
          </p:cNvPr>
          <p:cNvCxnSpPr>
            <a:cxnSpLocks/>
          </p:cNvCxnSpPr>
          <p:nvPr userDrawn="1"/>
        </p:nvCxnSpPr>
        <p:spPr>
          <a:xfrm>
            <a:off x="-109684" y="1693785"/>
            <a:ext cx="0" cy="9201936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39">
            <a:extLst>
              <a:ext uri="{FF2B5EF4-FFF2-40B4-BE49-F238E27FC236}">
                <a16:creationId xmlns:a16="http://schemas.microsoft.com/office/drawing/2014/main" id="{314931F2-870B-7375-0DEE-8DB3548B2A45}"/>
              </a:ext>
            </a:extLst>
          </p:cNvPr>
          <p:cNvCxnSpPr>
            <a:cxnSpLocks/>
          </p:cNvCxnSpPr>
          <p:nvPr userDrawn="1"/>
        </p:nvCxnSpPr>
        <p:spPr>
          <a:xfrm flipH="1">
            <a:off x="-169046" y="1685769"/>
            <a:ext cx="118725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39">
            <a:extLst>
              <a:ext uri="{FF2B5EF4-FFF2-40B4-BE49-F238E27FC236}">
                <a16:creationId xmlns:a16="http://schemas.microsoft.com/office/drawing/2014/main" id="{4297F1F2-DE4A-EDC2-6849-2A71F0E8802E}"/>
              </a:ext>
            </a:extLst>
          </p:cNvPr>
          <p:cNvCxnSpPr>
            <a:cxnSpLocks/>
          </p:cNvCxnSpPr>
          <p:nvPr userDrawn="1"/>
        </p:nvCxnSpPr>
        <p:spPr>
          <a:xfrm flipH="1">
            <a:off x="-169046" y="10893104"/>
            <a:ext cx="118725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feld 25">
            <a:extLst>
              <a:ext uri="{FF2B5EF4-FFF2-40B4-BE49-F238E27FC236}">
                <a16:creationId xmlns:a16="http://schemas.microsoft.com/office/drawing/2014/main" id="{AE0769FF-B30A-495A-C3A1-3BC7C41E94CF}"/>
              </a:ext>
            </a:extLst>
          </p:cNvPr>
          <p:cNvSpPr txBox="1"/>
          <p:nvPr userDrawn="1"/>
        </p:nvSpPr>
        <p:spPr bwMode="auto">
          <a:xfrm rot="16200000">
            <a:off x="-334734" y="6193252"/>
            <a:ext cx="450104" cy="203004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59363" tIns="0" rIns="59363" bIns="0" rtlCol="0">
            <a:spAutoFit/>
          </a:bodyPr>
          <a:lstStyle/>
          <a:p>
            <a:pPr algn="ctr" rtl="0" eaLnBrk="0" hangingPunct="0">
              <a:buClr>
                <a:schemeClr val="tx2"/>
              </a:buClr>
              <a:buSzTx/>
            </a:pPr>
            <a:r>
              <a:rPr lang="fr-FR" sz="1319" b="1">
                <a:solidFill>
                  <a:schemeClr val="tx2"/>
                </a:solidFill>
              </a:rPr>
              <a:t>15.5</a:t>
            </a:r>
            <a:endParaRPr lang="fr-FR" sz="989" b="1">
              <a:solidFill>
                <a:schemeClr val="tx2"/>
              </a:solidFill>
            </a:endParaRPr>
          </a:p>
        </p:txBody>
      </p:sp>
      <p:cxnSp>
        <p:nvCxnSpPr>
          <p:cNvPr id="27" name="Gerade Verbindung 39">
            <a:extLst>
              <a:ext uri="{FF2B5EF4-FFF2-40B4-BE49-F238E27FC236}">
                <a16:creationId xmlns:a16="http://schemas.microsoft.com/office/drawing/2014/main" id="{7A26B24C-9972-C621-5D45-682035891D85}"/>
              </a:ext>
            </a:extLst>
          </p:cNvPr>
          <p:cNvCxnSpPr>
            <a:cxnSpLocks/>
          </p:cNvCxnSpPr>
          <p:nvPr userDrawn="1"/>
        </p:nvCxnSpPr>
        <p:spPr>
          <a:xfrm flipH="1">
            <a:off x="-169046" y="416081"/>
            <a:ext cx="118725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45">
            <a:extLst>
              <a:ext uri="{FF2B5EF4-FFF2-40B4-BE49-F238E27FC236}">
                <a16:creationId xmlns:a16="http://schemas.microsoft.com/office/drawing/2014/main" id="{8ED745F4-C25E-88D7-804F-A7097180BEB0}"/>
              </a:ext>
            </a:extLst>
          </p:cNvPr>
          <p:cNvCxnSpPr>
            <a:cxnSpLocks/>
          </p:cNvCxnSpPr>
          <p:nvPr userDrawn="1"/>
        </p:nvCxnSpPr>
        <p:spPr>
          <a:xfrm>
            <a:off x="-109684" y="416082"/>
            <a:ext cx="0" cy="1277704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5F89DA72-C75E-27DD-BC0D-02B8F976C123}"/>
              </a:ext>
            </a:extLst>
          </p:cNvPr>
          <p:cNvSpPr txBox="1"/>
          <p:nvPr userDrawn="1"/>
        </p:nvSpPr>
        <p:spPr bwMode="auto">
          <a:xfrm rot="16200000">
            <a:off x="-334734" y="953432"/>
            <a:ext cx="450104" cy="203004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59363" tIns="0" rIns="59363" bIns="0" rtlCol="0">
            <a:spAutoFit/>
          </a:bodyPr>
          <a:lstStyle/>
          <a:p>
            <a:pPr algn="ctr" rtl="0" eaLnBrk="0" hangingPunct="0">
              <a:buClr>
                <a:schemeClr val="tx2"/>
              </a:buClr>
              <a:buSzTx/>
            </a:pPr>
            <a:r>
              <a:rPr lang="fr-FR" sz="1319" b="1">
                <a:solidFill>
                  <a:schemeClr val="tx2"/>
                </a:solidFill>
              </a:rPr>
              <a:t>2.15</a:t>
            </a:r>
            <a:endParaRPr lang="fr-FR" sz="989" b="1">
              <a:solidFill>
                <a:schemeClr val="tx2"/>
              </a:solidFill>
            </a:endParaRPr>
          </a:p>
        </p:txBody>
      </p:sp>
      <p:cxnSp>
        <p:nvCxnSpPr>
          <p:cNvPr id="2" name="Gerade Verbindung 45">
            <a:extLst>
              <a:ext uri="{FF2B5EF4-FFF2-40B4-BE49-F238E27FC236}">
                <a16:creationId xmlns:a16="http://schemas.microsoft.com/office/drawing/2014/main" id="{0DFC9992-C783-2F3C-9065-4CCCDA661488}"/>
              </a:ext>
            </a:extLst>
          </p:cNvPr>
          <p:cNvCxnSpPr>
            <a:cxnSpLocks/>
          </p:cNvCxnSpPr>
          <p:nvPr userDrawn="1"/>
        </p:nvCxnSpPr>
        <p:spPr>
          <a:xfrm flipH="1">
            <a:off x="413601" y="11424594"/>
            <a:ext cx="9431651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feld 2">
            <a:extLst>
              <a:ext uri="{FF2B5EF4-FFF2-40B4-BE49-F238E27FC236}">
                <a16:creationId xmlns:a16="http://schemas.microsoft.com/office/drawing/2014/main" id="{5F47FB56-0AEC-1E3B-1555-8DD839CB6916}"/>
              </a:ext>
            </a:extLst>
          </p:cNvPr>
          <p:cNvSpPr txBox="1"/>
          <p:nvPr userDrawn="1"/>
        </p:nvSpPr>
        <p:spPr bwMode="auto">
          <a:xfrm>
            <a:off x="4911393" y="11323086"/>
            <a:ext cx="522997" cy="203004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rtl="0" eaLnBrk="0" hangingPunct="0">
              <a:buClr>
                <a:schemeClr val="tx2"/>
              </a:buClr>
              <a:buSzTx/>
            </a:pPr>
            <a:r>
              <a:rPr lang="fr-FR" sz="1319" b="1">
                <a:solidFill>
                  <a:schemeClr val="tx2"/>
                </a:solidFill>
              </a:rPr>
              <a:t>15.88 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5F8C669-6620-F93B-F2B2-F5DF0DC6F7C8}"/>
              </a:ext>
            </a:extLst>
          </p:cNvPr>
          <p:cNvSpPr txBox="1"/>
          <p:nvPr userDrawn="1"/>
        </p:nvSpPr>
        <p:spPr bwMode="auto">
          <a:xfrm>
            <a:off x="9842633" y="11323085"/>
            <a:ext cx="418835" cy="203004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rtl="0" eaLnBrk="0" hangingPunct="0">
              <a:buClr>
                <a:schemeClr val="tx2"/>
              </a:buClr>
              <a:buSzTx/>
            </a:pPr>
            <a:r>
              <a:rPr lang="fr-FR" sz="1319" b="1">
                <a:solidFill>
                  <a:schemeClr val="tx2"/>
                </a:solidFill>
              </a:rPr>
              <a:t>0.7</a:t>
            </a:r>
          </a:p>
        </p:txBody>
      </p:sp>
      <p:cxnSp>
        <p:nvCxnSpPr>
          <p:cNvPr id="8" name="Gerade Verbindung 39">
            <a:extLst>
              <a:ext uri="{FF2B5EF4-FFF2-40B4-BE49-F238E27FC236}">
                <a16:creationId xmlns:a16="http://schemas.microsoft.com/office/drawing/2014/main" id="{1B3AFD81-3B74-9D20-FEE3-E1D1F87E2236}"/>
              </a:ext>
            </a:extLst>
          </p:cNvPr>
          <p:cNvCxnSpPr>
            <a:cxnSpLocks/>
          </p:cNvCxnSpPr>
          <p:nvPr userDrawn="1"/>
        </p:nvCxnSpPr>
        <p:spPr>
          <a:xfrm flipH="1">
            <a:off x="412288" y="11365227"/>
            <a:ext cx="2" cy="118733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39">
            <a:extLst>
              <a:ext uri="{FF2B5EF4-FFF2-40B4-BE49-F238E27FC236}">
                <a16:creationId xmlns:a16="http://schemas.microsoft.com/office/drawing/2014/main" id="{322C72BD-3BAB-6E68-DC34-754C9CAA3435}"/>
              </a:ext>
            </a:extLst>
          </p:cNvPr>
          <p:cNvCxnSpPr>
            <a:cxnSpLocks/>
          </p:cNvCxnSpPr>
          <p:nvPr userDrawn="1"/>
        </p:nvCxnSpPr>
        <p:spPr>
          <a:xfrm flipH="1">
            <a:off x="9848370" y="11365227"/>
            <a:ext cx="2" cy="118733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45">
            <a:extLst>
              <a:ext uri="{FF2B5EF4-FFF2-40B4-BE49-F238E27FC236}">
                <a16:creationId xmlns:a16="http://schemas.microsoft.com/office/drawing/2014/main" id="{2DDBA8AB-435D-1A79-2AE9-F53D44CA8BAC}"/>
              </a:ext>
            </a:extLst>
          </p:cNvPr>
          <p:cNvCxnSpPr>
            <a:cxnSpLocks/>
          </p:cNvCxnSpPr>
          <p:nvPr userDrawn="1"/>
        </p:nvCxnSpPr>
        <p:spPr>
          <a:xfrm flipH="1">
            <a:off x="10261468" y="11424594"/>
            <a:ext cx="9423797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C1F47E36-FE4C-379E-D306-3C0D51DBBA05}"/>
              </a:ext>
            </a:extLst>
          </p:cNvPr>
          <p:cNvSpPr txBox="1"/>
          <p:nvPr userDrawn="1"/>
        </p:nvSpPr>
        <p:spPr bwMode="auto">
          <a:xfrm>
            <a:off x="14767113" y="11323086"/>
            <a:ext cx="570117" cy="203004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rtl="0" eaLnBrk="0" hangingPunct="0">
              <a:buClr>
                <a:schemeClr val="tx2"/>
              </a:buClr>
              <a:buSzTx/>
            </a:pPr>
            <a:r>
              <a:rPr lang="fr-FR" sz="1319" b="1">
                <a:solidFill>
                  <a:schemeClr val="tx2"/>
                </a:solidFill>
              </a:rPr>
              <a:t>15.88 </a:t>
            </a:r>
          </a:p>
        </p:txBody>
      </p:sp>
      <p:cxnSp>
        <p:nvCxnSpPr>
          <p:cNvPr id="19" name="Gerade Verbindung 39">
            <a:extLst>
              <a:ext uri="{FF2B5EF4-FFF2-40B4-BE49-F238E27FC236}">
                <a16:creationId xmlns:a16="http://schemas.microsoft.com/office/drawing/2014/main" id="{F7FE1A25-2786-BEEB-7BE4-1E035D639F28}"/>
              </a:ext>
            </a:extLst>
          </p:cNvPr>
          <p:cNvCxnSpPr>
            <a:cxnSpLocks/>
          </p:cNvCxnSpPr>
          <p:nvPr userDrawn="1"/>
        </p:nvCxnSpPr>
        <p:spPr>
          <a:xfrm flipH="1">
            <a:off x="10259658" y="11365227"/>
            <a:ext cx="2" cy="118733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39">
            <a:extLst>
              <a:ext uri="{FF2B5EF4-FFF2-40B4-BE49-F238E27FC236}">
                <a16:creationId xmlns:a16="http://schemas.microsoft.com/office/drawing/2014/main" id="{27C61324-9218-D05A-9C79-FE76AB946B0B}"/>
              </a:ext>
            </a:extLst>
          </p:cNvPr>
          <p:cNvCxnSpPr>
            <a:cxnSpLocks/>
          </p:cNvCxnSpPr>
          <p:nvPr userDrawn="1"/>
        </p:nvCxnSpPr>
        <p:spPr>
          <a:xfrm flipH="1">
            <a:off x="19685267" y="11365227"/>
            <a:ext cx="2" cy="118733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99917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5">
          <p15:clr>
            <a:srgbClr val="F26B43"/>
          </p15:clr>
        </p15:guide>
        <p15:guide id="8" pos="3761">
          <p15:clr>
            <a:srgbClr val="F26B43"/>
          </p15:clr>
        </p15:guide>
        <p15:guide id="9" pos="3840">
          <p15:clr>
            <a:srgbClr val="F26B43"/>
          </p15:clr>
        </p15:guide>
        <p15:guide id="10" pos="3920">
          <p15:clr>
            <a:srgbClr val="F26B43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calaire #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99FA4A1-A342-B989-1DE4-1BC2503677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1993715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484" imgH="486" progId="TCLayout.ActiveDocument.1">
                  <p:embed/>
                </p:oleObj>
              </mc:Choice>
              <mc:Fallback>
                <p:oleObj name="Diapositive think-cell" r:id="rId3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9FA4A1-A342-B989-1DE4-1BC2503677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C9E5E7C-AE32-FB4C-A7D5-763D0651E40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r>
              <a:rPr lang="fr-FR"/>
              <a:t>| </a:t>
            </a:r>
            <a:fld id="{E81B8D95-AA0C-433D-B79A-00E7CF97219C}" type="slidenum">
              <a:rPr lang="fr-FR" smtClean="0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313D8E5-ED99-2967-39BC-D930AB51CA23}"/>
              </a:ext>
            </a:extLst>
          </p:cNvPr>
          <p:cNvSpPr/>
          <p:nvPr userDrawn="1"/>
        </p:nvSpPr>
        <p:spPr bwMode="auto">
          <a:xfrm>
            <a:off x="0" y="0"/>
            <a:ext cx="9894987" cy="11309350"/>
          </a:xfrm>
          <a:prstGeom prst="rect">
            <a:avLst/>
          </a:prstGeom>
          <a:solidFill>
            <a:schemeClr val="accent1"/>
          </a:solidFill>
          <a:ln w="12700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59363" tIns="59363" rIns="59363" bIns="5936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98428" marR="0" lvl="0" indent="-298428" algn="ctr" defTabSz="15078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-FR" sz="296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5E6C6C8-4EBC-5940-1AA3-E42EF63E73F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4182" y="5082664"/>
            <a:ext cx="9486622" cy="116735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rtl="0">
              <a:buNone/>
              <a:defRPr kumimoji="0" lang="fr-FR" sz="6596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98428" marR="0" lvl="0" indent="-298428" algn="l" defTabSz="15078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FF6600"/>
              </a:buClr>
              <a:buSzTx/>
              <a:tabLst/>
              <a:defRPr/>
            </a:pPr>
            <a:r>
              <a:rPr lang="fr-FR"/>
              <a:t>Titre de la section</a:t>
            </a:r>
          </a:p>
        </p:txBody>
      </p:sp>
      <p:pic>
        <p:nvPicPr>
          <p:cNvPr id="2" name="Image 1" descr="Une image contenant texte, personne, intérieur&#10;&#10;Description générée automatiquement">
            <a:extLst>
              <a:ext uri="{FF2B5EF4-FFF2-40B4-BE49-F238E27FC236}">
                <a16:creationId xmlns:a16="http://schemas.microsoft.com/office/drawing/2014/main" id="{75045309-3C50-8D92-D60E-3F1D42EF67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24" r="14334"/>
          <a:stretch/>
        </p:blipFill>
        <p:spPr>
          <a:xfrm>
            <a:off x="9894989" y="3"/>
            <a:ext cx="10209113" cy="11309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02462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100" b="1" i="0">
                <a:solidFill>
                  <a:srgbClr val="2F4048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44C251-487E-44A9-BF26-97303ADBBFB3}" type="datetime1">
              <a:rPr lang="en-US" smtClean="0"/>
              <a:t>11/19/20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650"/>
              </a:lnSpc>
            </a:pPr>
            <a:fld id="{81D60167-4931-47E6-BA6A-407CBD079E47}" type="slidenum">
              <a:rPr spc="-25" dirty="0"/>
              <a:t>‹N°›</a:t>
            </a:fld>
            <a:endParaRPr spc="-25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CBB636F-96FC-4AB8-8BE8-170BC209A332}" type="datetime1">
              <a:rPr lang="en-US" smtClean="0"/>
              <a:t>11/19/2025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650"/>
              </a:lnSpc>
            </a:pPr>
            <a:fld id="{81D60167-4931-47E6-BA6A-407CBD079E47}" type="slidenum">
              <a:rPr spc="-25" dirty="0"/>
              <a:t>‹N°›</a:t>
            </a:fld>
            <a:endParaRPr spc="-25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M_Titel_Untertitel_Inhaltsplatzspeic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de-CH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 hasCustomPrompt="1"/>
          </p:nvPr>
        </p:nvSpPr>
        <p:spPr>
          <a:xfrm>
            <a:off x="554154" y="1856096"/>
            <a:ext cx="18992577" cy="1107996"/>
          </a:xfrm>
          <a:prstGeom prst="rect">
            <a:avLst/>
          </a:prstGeom>
        </p:spPr>
        <p:txBody>
          <a:bodyPr/>
          <a:lstStyle>
            <a:lvl1pPr marL="298428" indent="-298428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de-CH"/>
              <a:t>Text durch Klicken hinzufügen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5265" y="1290555"/>
            <a:ext cx="1025972" cy="349702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36000" rIns="36000" bIns="36000" anchor="ctr" anchorCtr="0">
            <a:sp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Untertitel</a:t>
            </a:r>
          </a:p>
        </p:txBody>
      </p:sp>
      <p:sp>
        <p:nvSpPr>
          <p:cNvPr id="10" name="Eingekerbter Richtungspfeil 2"/>
          <p:cNvSpPr/>
          <p:nvPr userDrawn="1"/>
        </p:nvSpPr>
        <p:spPr bwMode="auto">
          <a:xfrm>
            <a:off x="183535" y="10907721"/>
            <a:ext cx="146126" cy="237467"/>
          </a:xfrm>
          <a:prstGeom prst="chevron">
            <a:avLst>
              <a:gd name="adj" fmla="val 60698"/>
            </a:avLst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2638"/>
          </a:p>
        </p:txBody>
      </p:sp>
      <p:sp>
        <p:nvSpPr>
          <p:cNvPr id="15" name="Date Placeholder 5"/>
          <p:cNvSpPr>
            <a:spLocks noGrp="1"/>
          </p:cNvSpPr>
          <p:nvPr>
            <p:ph type="dt" sz="half" idx="2"/>
          </p:nvPr>
        </p:nvSpPr>
        <p:spPr>
          <a:xfrm>
            <a:off x="17889397" y="10950867"/>
            <a:ext cx="1397797" cy="25123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1633" b="0" i="0" u="none" strike="noStrike" cap="none" spc="0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fld id="{A32DA4B9-422F-444A-A21C-B55F8428EB2D}" type="datetime1">
              <a:rPr lang="fr-CH" smtClean="0"/>
              <a:t>19.11.2025</a:t>
            </a:fld>
            <a:endParaRPr lang="de-CH"/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8971528" y="10950866"/>
            <a:ext cx="579578" cy="2512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r" defTabSz="15078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GB" sz="1319" b="0" i="0" u="none" strike="noStrike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pPr>
              <a:defRPr/>
            </a:pPr>
            <a:r>
              <a:rPr lang="de-CH"/>
              <a:t>| </a:t>
            </a:r>
            <a:fld id="{E81B8D95-AA0C-433D-B79A-00E7CF97219C}" type="slidenum">
              <a:rPr lang="de-CH" sz="1633" smtClean="0"/>
              <a:pPr>
                <a:defRPr/>
              </a:pPr>
              <a:t>‹N°›</a:t>
            </a:fld>
            <a:endParaRPr lang="de-CH" sz="1633"/>
          </a:p>
        </p:txBody>
      </p:sp>
    </p:spTree>
    <p:extLst>
      <p:ext uri="{BB962C8B-B14F-4D97-AF65-F5344CB8AC3E}">
        <p14:creationId xmlns:p14="http://schemas.microsoft.com/office/powerpoint/2010/main" val="29125759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_Titelfolie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Rectangle 4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3179546"/>
              </p:ext>
            </p:extLst>
          </p:nvPr>
        </p:nvGraphicFramePr>
        <p:xfrm>
          <a:off x="2" y="0"/>
          <a:ext cx="322182" cy="2617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0" imgH="0" progId="TCLayout.ActiveDocument.1">
                  <p:embed/>
                </p:oleObj>
              </mc:Choice>
              <mc:Fallback>
                <p:oleObj name="Diapositive think-cell" r:id="rId3" imgW="0" imgH="0" progId="TCLayout.ActiveDocument.1">
                  <p:embed/>
                  <p:pic>
                    <p:nvPicPr>
                      <p:cNvPr id="6" name="Rectangle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322182" cy="2617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/>
          <p:cNvSpPr/>
          <p:nvPr userDrawn="1"/>
        </p:nvSpPr>
        <p:spPr bwMode="auto">
          <a:xfrm>
            <a:off x="0" y="10085213"/>
            <a:ext cx="20104100" cy="1224137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2638"/>
          </a:p>
        </p:txBody>
      </p:sp>
      <p:sp>
        <p:nvSpPr>
          <p:cNvPr id="20" name="Rechteck 19"/>
          <p:cNvSpPr/>
          <p:nvPr userDrawn="1"/>
        </p:nvSpPr>
        <p:spPr bwMode="auto">
          <a:xfrm>
            <a:off x="15356090" y="10085213"/>
            <a:ext cx="4194721" cy="1224137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2638"/>
          </a:p>
        </p:txBody>
      </p:sp>
      <p:pic>
        <p:nvPicPr>
          <p:cNvPr id="19" name="Picture 21"/>
          <p:cNvPicPr>
            <a:picLocks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879591" y="10232411"/>
            <a:ext cx="3196562" cy="898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0" name="Textplatzhalter 2"/>
          <p:cNvSpPr>
            <a:spLocks noGrp="1"/>
          </p:cNvSpPr>
          <p:nvPr>
            <p:ph type="body" sz="quarter" idx="16" hasCustomPrompt="1"/>
          </p:nvPr>
        </p:nvSpPr>
        <p:spPr>
          <a:xfrm>
            <a:off x="0" y="2795437"/>
            <a:ext cx="11023686" cy="8960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288000" tIns="25200" rIns="108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FontTx/>
              <a:buNone/>
              <a:defRPr lang="de-CH" sz="5277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Titel wenn 2- zeilig (sonst löschen)</a:t>
            </a:r>
          </a:p>
        </p:txBody>
      </p:sp>
      <p:sp>
        <p:nvSpPr>
          <p:cNvPr id="33" name="Textplatzhalter 2"/>
          <p:cNvSpPr>
            <a:spLocks noGrp="1"/>
          </p:cNvSpPr>
          <p:nvPr>
            <p:ph type="body" sz="quarter" idx="22" hasCustomPrompt="1"/>
          </p:nvPr>
        </p:nvSpPr>
        <p:spPr>
          <a:xfrm>
            <a:off x="1613" y="4720916"/>
            <a:ext cx="5186952" cy="55840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288000" tIns="25200" rIns="72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FontTx/>
              <a:buNone/>
              <a:defRPr lang="de-CH" sz="3298" baseline="0" dirty="0"/>
            </a:lvl1pPr>
          </a:lstStyle>
          <a:p>
            <a:pPr lvl="0"/>
            <a:r>
              <a:rPr lang="de-CH"/>
              <a:t>Vorname Name, Funktion</a:t>
            </a:r>
          </a:p>
        </p:txBody>
      </p:sp>
      <p:sp>
        <p:nvSpPr>
          <p:cNvPr id="34" name="Textplatzhalter 2"/>
          <p:cNvSpPr>
            <a:spLocks noGrp="1"/>
          </p:cNvSpPr>
          <p:nvPr>
            <p:ph type="body" sz="quarter" idx="23" hasCustomPrompt="1"/>
          </p:nvPr>
        </p:nvSpPr>
        <p:spPr>
          <a:xfrm>
            <a:off x="1609" y="5375392"/>
            <a:ext cx="2929924" cy="55840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288000" tIns="25200" rIns="72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FontTx/>
              <a:buNone/>
              <a:defRPr lang="de-CH" sz="3298" baseline="0" dirty="0"/>
            </a:lvl1pPr>
          </a:lstStyle>
          <a:p>
            <a:pPr lvl="0"/>
            <a:r>
              <a:rPr lang="de-CH"/>
              <a:t>Unternehmen</a:t>
            </a:r>
          </a:p>
        </p:txBody>
      </p:sp>
      <p:sp>
        <p:nvSpPr>
          <p:cNvPr id="35" name="Textplatzhalter 2"/>
          <p:cNvSpPr>
            <a:spLocks noGrp="1"/>
          </p:cNvSpPr>
          <p:nvPr>
            <p:ph type="body" sz="quarter" idx="24" hasCustomPrompt="1"/>
          </p:nvPr>
        </p:nvSpPr>
        <p:spPr>
          <a:xfrm>
            <a:off x="1609" y="6027250"/>
            <a:ext cx="4335757" cy="55840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288000" tIns="25200" rIns="72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FontTx/>
              <a:buNone/>
              <a:defRPr lang="de-CH" sz="3298" baseline="0" dirty="0"/>
            </a:lvl1pPr>
          </a:lstStyle>
          <a:p>
            <a:pPr lvl="0"/>
            <a:r>
              <a:rPr lang="de-CH"/>
              <a:t>Anlass,  Ort &amp; Datum</a:t>
            </a:r>
          </a:p>
        </p:txBody>
      </p:sp>
      <p:sp>
        <p:nvSpPr>
          <p:cNvPr id="36" name="Textplatzhalter 2"/>
          <p:cNvSpPr>
            <a:spLocks noGrp="1"/>
          </p:cNvSpPr>
          <p:nvPr>
            <p:ph type="body" sz="quarter" idx="25" hasCustomPrompt="1"/>
          </p:nvPr>
        </p:nvSpPr>
        <p:spPr>
          <a:xfrm>
            <a:off x="1612" y="3768901"/>
            <a:ext cx="6007171" cy="86297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288000" tIns="25200" rIns="108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FontTx/>
              <a:buNone/>
              <a:defRPr lang="de-CH" sz="5277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Titel wenn 1- zeilig</a:t>
            </a:r>
          </a:p>
        </p:txBody>
      </p:sp>
    </p:spTree>
    <p:extLst>
      <p:ext uri="{BB962C8B-B14F-4D97-AF65-F5344CB8AC3E}">
        <p14:creationId xmlns:p14="http://schemas.microsoft.com/office/powerpoint/2010/main" val="39256994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_Titel_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3010853"/>
              </p:ext>
            </p:extLst>
          </p:nvPr>
        </p:nvGraphicFramePr>
        <p:xfrm>
          <a:off x="3226" y="2625"/>
          <a:ext cx="3220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226" y="2625"/>
                        <a:ext cx="3220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261772" cy="261791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buClr>
                <a:schemeClr val="accent1"/>
              </a:buClr>
              <a:buFontTx/>
              <a:buNone/>
            </a:pPr>
            <a:endParaRPr lang="de-DE" sz="3958" b="0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5265" y="1226082"/>
            <a:ext cx="1461989" cy="478648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36000" rIns="36000" bIns="36000" anchor="ctr" anchorCtr="0">
            <a:sp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Untertitel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solidFill>
            <a:schemeClr val="tx2"/>
          </a:solidFill>
        </p:spPr>
        <p:txBody>
          <a:bodyPr rIns="36000"/>
          <a:lstStyle/>
          <a:p>
            <a:r>
              <a:rPr lang="fr-FR"/>
              <a:t>Modifiez le style du titre</a:t>
            </a:r>
            <a:endParaRPr lang="de-CH"/>
          </a:p>
        </p:txBody>
      </p:sp>
      <p:sp>
        <p:nvSpPr>
          <p:cNvPr id="11" name="Eingekerbter Richtungspfeil 2"/>
          <p:cNvSpPr/>
          <p:nvPr userDrawn="1"/>
        </p:nvSpPr>
        <p:spPr bwMode="auto">
          <a:xfrm>
            <a:off x="183535" y="10907721"/>
            <a:ext cx="146126" cy="237467"/>
          </a:xfrm>
          <a:prstGeom prst="chevron">
            <a:avLst>
              <a:gd name="adj" fmla="val 60698"/>
            </a:avLst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2638"/>
          </a:p>
        </p:txBody>
      </p:sp>
      <p:pic>
        <p:nvPicPr>
          <p:cNvPr id="16" name="Picture 135"/>
          <p:cNvPicPr>
            <a:picLocks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155" y="10932353"/>
            <a:ext cx="1007538" cy="182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Date Placeholder 5"/>
          <p:cNvSpPr>
            <a:spLocks noGrp="1"/>
          </p:cNvSpPr>
          <p:nvPr>
            <p:ph type="dt" sz="half" idx="2"/>
          </p:nvPr>
        </p:nvSpPr>
        <p:spPr>
          <a:xfrm>
            <a:off x="17889397" y="10950867"/>
            <a:ext cx="1397797" cy="25123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1633" b="0" i="0" u="none" strike="noStrike" cap="none" spc="0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fld id="{FF139E17-BE77-405C-B04E-602454E918D6}" type="datetime1">
              <a:rPr lang="en-US" smtClean="0"/>
              <a:t>11/19/2025</a:t>
            </a:fld>
            <a:endParaRPr lang="de-CH"/>
          </a:p>
        </p:txBody>
      </p:sp>
      <p:sp>
        <p:nvSpPr>
          <p:cNvPr id="21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8971528" y="10950866"/>
            <a:ext cx="579578" cy="2512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r" defTabSz="15078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GB" sz="1319" b="0" i="0" u="none" strike="noStrike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pPr>
              <a:defRPr/>
            </a:pPr>
            <a:r>
              <a:rPr lang="de-CH"/>
              <a:t>| </a:t>
            </a:r>
            <a:fld id="{E81B8D95-AA0C-433D-B79A-00E7CF97219C}" type="slidenum">
              <a:rPr lang="de-CH" sz="1633" smtClean="0"/>
              <a:pPr>
                <a:defRPr/>
              </a:pPr>
              <a:t>‹N°›</a:t>
            </a:fld>
            <a:endParaRPr lang="de-CH" sz="1633"/>
          </a:p>
        </p:txBody>
      </p:sp>
      <p:sp>
        <p:nvSpPr>
          <p:cNvPr id="2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205245" y="10953159"/>
            <a:ext cx="12055153" cy="25123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1633" b="0" i="0" u="none" strike="noStrike" cap="none" spc="0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620537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_Titel_Untertitel_Inhaltsplatzspeic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de-CH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 hasCustomPrompt="1"/>
          </p:nvPr>
        </p:nvSpPr>
        <p:spPr>
          <a:xfrm>
            <a:off x="554154" y="1856096"/>
            <a:ext cx="18992577" cy="2030185"/>
          </a:xfrm>
          <a:prstGeom prst="rect">
            <a:avLst/>
          </a:prstGeom>
        </p:spPr>
        <p:txBody>
          <a:bodyPr/>
          <a:lstStyle>
            <a:lvl1pPr marL="298428" indent="-298428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de-CH"/>
              <a:t>Text durch Klicken hinzufügen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5265" y="1226082"/>
            <a:ext cx="1461989" cy="478648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36000" rIns="36000" bIns="36000" anchor="ctr" anchorCtr="0">
            <a:sp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Untertitel</a:t>
            </a:r>
          </a:p>
        </p:txBody>
      </p:sp>
      <p:sp>
        <p:nvSpPr>
          <p:cNvPr id="6" name="Fußzeilenplatzhalter 24"/>
          <p:cNvSpPr txBox="1">
            <a:spLocks/>
          </p:cNvSpPr>
          <p:nvPr userDrawn="1"/>
        </p:nvSpPr>
        <p:spPr>
          <a:xfrm>
            <a:off x="2375580" y="10950866"/>
            <a:ext cx="12584401" cy="20300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898989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15078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1319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0" name="Eingekerbter Richtungspfeil 2"/>
          <p:cNvSpPr/>
          <p:nvPr userDrawn="1"/>
        </p:nvSpPr>
        <p:spPr bwMode="auto">
          <a:xfrm>
            <a:off x="183535" y="10907721"/>
            <a:ext cx="146126" cy="237467"/>
          </a:xfrm>
          <a:prstGeom prst="chevron">
            <a:avLst>
              <a:gd name="adj" fmla="val 60698"/>
            </a:avLst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2638"/>
          </a:p>
        </p:txBody>
      </p:sp>
      <p:pic>
        <p:nvPicPr>
          <p:cNvPr id="14" name="Picture 135"/>
          <p:cNvPicPr>
            <a:picLocks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155" y="10932353"/>
            <a:ext cx="1007538" cy="182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Date Placeholder 5"/>
          <p:cNvSpPr>
            <a:spLocks noGrp="1"/>
          </p:cNvSpPr>
          <p:nvPr>
            <p:ph type="dt" sz="half" idx="2"/>
          </p:nvPr>
        </p:nvSpPr>
        <p:spPr>
          <a:xfrm>
            <a:off x="17889397" y="10950867"/>
            <a:ext cx="1397797" cy="25123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1633" b="0" i="0" u="none" strike="noStrike" cap="none" spc="0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fld id="{7521CB33-048E-42D7-BDAD-99DDF809DCCF}" type="datetime1">
              <a:rPr lang="en-US" smtClean="0"/>
              <a:t>11/19/2025</a:t>
            </a:fld>
            <a:endParaRPr lang="de-CH"/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8971528" y="10950866"/>
            <a:ext cx="579578" cy="2512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r" defTabSz="15078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GB" sz="1319" b="0" i="0" u="none" strike="noStrike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pPr>
              <a:defRPr/>
            </a:pPr>
            <a:r>
              <a:rPr lang="de-CH"/>
              <a:t>| </a:t>
            </a:r>
            <a:fld id="{E81B8D95-AA0C-433D-B79A-00E7CF97219C}" type="slidenum">
              <a:rPr lang="de-CH" sz="1633" smtClean="0"/>
              <a:pPr>
                <a:defRPr/>
              </a:pPr>
              <a:t>‹N°›</a:t>
            </a:fld>
            <a:endParaRPr lang="de-CH" sz="1633"/>
          </a:p>
        </p:txBody>
      </p:sp>
      <p:sp>
        <p:nvSpPr>
          <p:cNvPr id="1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205245" y="10953159"/>
            <a:ext cx="12055153" cy="25123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1633" b="0" i="0" u="none" strike="noStrike" cap="none" spc="0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825885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9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ags" Target="../tags/tag4.xml"/><Relationship Id="rId5" Type="http://schemas.openxmlformats.org/officeDocument/2006/relationships/tags" Target="../tags/tag3.xml"/><Relationship Id="rId4" Type="http://schemas.openxmlformats.org/officeDocument/2006/relationships/theme" Target="../theme/theme2.xml"/><Relationship Id="rId9" Type="http://schemas.openxmlformats.org/officeDocument/2006/relationships/image" Target="../media/image6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12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4" Type="http://schemas.openxmlformats.org/officeDocument/2006/relationships/theme" Target="../theme/theme3.xml"/><Relationship Id="rId9" Type="http://schemas.openxmlformats.org/officeDocument/2006/relationships/image" Target="../media/image6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3" Type="http://schemas.openxmlformats.org/officeDocument/2006/relationships/slideLayout" Target="../slideLayouts/slideLayout15.xml"/><Relationship Id="rId7" Type="http://schemas.openxmlformats.org/officeDocument/2006/relationships/tags" Target="../tags/tag13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heme" Target="../theme/theme4.xml"/><Relationship Id="rId11" Type="http://schemas.openxmlformats.org/officeDocument/2006/relationships/image" Target="../media/image6.png"/><Relationship Id="rId5" Type="http://schemas.openxmlformats.org/officeDocument/2006/relationships/slideLayout" Target="../slideLayouts/slideLayout17.xml"/><Relationship Id="rId10" Type="http://schemas.openxmlformats.org/officeDocument/2006/relationships/image" Target="../media/image5.emf"/><Relationship Id="rId4" Type="http://schemas.openxmlformats.org/officeDocument/2006/relationships/slideLayout" Target="../slideLayouts/slideLayout16.xml"/><Relationship Id="rId9" Type="http://schemas.openxmlformats.org/officeDocument/2006/relationships/oleObject" Target="../embeddings/oleObject8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slideLayout" Target="../slideLayouts/slideLayout20.xml"/><Relationship Id="rId7" Type="http://schemas.openxmlformats.org/officeDocument/2006/relationships/tags" Target="../tags/tag21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tags" Target="../tags/tag20.xml"/><Relationship Id="rId5" Type="http://schemas.openxmlformats.org/officeDocument/2006/relationships/theme" Target="../theme/theme5.xml"/><Relationship Id="rId10" Type="http://schemas.openxmlformats.org/officeDocument/2006/relationships/image" Target="../media/image6.png"/><Relationship Id="rId4" Type="http://schemas.openxmlformats.org/officeDocument/2006/relationships/slideLayout" Target="../slideLayouts/slideLayout21.xml"/><Relationship Id="rId9" Type="http://schemas.openxmlformats.org/officeDocument/2006/relationships/image" Target="../media/image5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3" Type="http://schemas.openxmlformats.org/officeDocument/2006/relationships/slideLayout" Target="../slideLayouts/slideLayout24.xml"/><Relationship Id="rId7" Type="http://schemas.openxmlformats.org/officeDocument/2006/relationships/tags" Target="../tags/tag27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tags" Target="../tags/tag26.xml"/><Relationship Id="rId5" Type="http://schemas.openxmlformats.org/officeDocument/2006/relationships/theme" Target="../theme/theme6.xml"/><Relationship Id="rId10" Type="http://schemas.openxmlformats.org/officeDocument/2006/relationships/image" Target="../media/image6.png"/><Relationship Id="rId4" Type="http://schemas.openxmlformats.org/officeDocument/2006/relationships/slideLayout" Target="../slideLayouts/slideLayout25.xml"/><Relationship Id="rId9" Type="http://schemas.openxmlformats.org/officeDocument/2006/relationships/image" Target="../media/image5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28.xml"/><Relationship Id="rId7" Type="http://schemas.openxmlformats.org/officeDocument/2006/relationships/oleObject" Target="../embeddings/oleObject17.bin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4" Type="http://schemas.openxmlformats.org/officeDocument/2006/relationships/theme" Target="../theme/theme7.xml"/><Relationship Id="rId9" Type="http://schemas.openxmlformats.org/officeDocument/2006/relationships/image" Target="../media/image6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3" Type="http://schemas.openxmlformats.org/officeDocument/2006/relationships/slideLayout" Target="../slideLayouts/slideLayout31.xml"/><Relationship Id="rId7" Type="http://schemas.openxmlformats.org/officeDocument/2006/relationships/tags" Target="../tags/tag37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theme" Target="../theme/theme8.xml"/><Relationship Id="rId11" Type="http://schemas.openxmlformats.org/officeDocument/2006/relationships/image" Target="../media/image6.png"/><Relationship Id="rId5" Type="http://schemas.openxmlformats.org/officeDocument/2006/relationships/slideLayout" Target="../slideLayouts/slideLayout33.xml"/><Relationship Id="rId10" Type="http://schemas.openxmlformats.org/officeDocument/2006/relationships/image" Target="../media/image5.emf"/><Relationship Id="rId4" Type="http://schemas.openxmlformats.org/officeDocument/2006/relationships/slideLayout" Target="../slideLayouts/slideLayout32.xml"/><Relationship Id="rId9" Type="http://schemas.openxmlformats.org/officeDocument/2006/relationships/oleObject" Target="../embeddings/oleObject18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0B3235E-FF19-AA79-7D15-8A430DC013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111093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9" imgW="274" imgH="274" progId="TCLayout.ActiveDocument.1">
                  <p:embed/>
                </p:oleObj>
              </mc:Choice>
              <mc:Fallback>
                <p:oleObj name="Diapositive think-cell" r:id="rId9" imgW="274" imgH="27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0B3235E-FF19-AA79-7D15-8A430DC013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g object 16"/>
          <p:cNvSpPr/>
          <p:nvPr/>
        </p:nvSpPr>
        <p:spPr>
          <a:xfrm>
            <a:off x="418835" y="418835"/>
            <a:ext cx="19266535" cy="10473055"/>
          </a:xfrm>
          <a:custGeom>
            <a:avLst/>
            <a:gdLst/>
            <a:ahLst/>
            <a:cxnLst/>
            <a:rect l="l" t="t" r="r" b="b"/>
            <a:pathLst>
              <a:path w="19266535" h="10473055">
                <a:moveTo>
                  <a:pt x="19266429" y="0"/>
                </a:moveTo>
                <a:lnTo>
                  <a:pt x="0" y="0"/>
                </a:lnTo>
                <a:lnTo>
                  <a:pt x="0" y="10472455"/>
                </a:lnTo>
                <a:lnTo>
                  <a:pt x="19266429" y="10472455"/>
                </a:lnTo>
                <a:lnTo>
                  <a:pt x="19266429" y="0"/>
                </a:lnTo>
                <a:close/>
              </a:path>
            </a:pathLst>
          </a:custGeom>
          <a:solidFill>
            <a:srgbClr val="E1E6E9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7" name="bg object 17"/>
          <p:cNvPicPr/>
          <p:nvPr/>
        </p:nvPicPr>
        <p:blipFill>
          <a:blip r:embed="rId11" cstate="print"/>
          <a:stretch>
            <a:fillRect/>
          </a:stretch>
        </p:blipFill>
        <p:spPr>
          <a:xfrm>
            <a:off x="18993823" y="10965304"/>
            <a:ext cx="138718" cy="121640"/>
          </a:xfrm>
          <a:prstGeom prst="rect">
            <a:avLst/>
          </a:prstGeom>
        </p:spPr>
      </p:pic>
      <p:sp>
        <p:nvSpPr>
          <p:cNvPr id="18" name="bg object 18"/>
          <p:cNvSpPr/>
          <p:nvPr/>
        </p:nvSpPr>
        <p:spPr>
          <a:xfrm>
            <a:off x="19156478" y="10962963"/>
            <a:ext cx="525780" cy="126364"/>
          </a:xfrm>
          <a:custGeom>
            <a:avLst/>
            <a:gdLst/>
            <a:ahLst/>
            <a:cxnLst/>
            <a:rect l="l" t="t" r="r" b="b"/>
            <a:pathLst>
              <a:path w="525780" h="126365">
                <a:moveTo>
                  <a:pt x="31280" y="4610"/>
                </a:moveTo>
                <a:lnTo>
                  <a:pt x="29933" y="4610"/>
                </a:lnTo>
                <a:lnTo>
                  <a:pt x="29933" y="2070"/>
                </a:lnTo>
                <a:lnTo>
                  <a:pt x="0" y="2070"/>
                </a:lnTo>
                <a:lnTo>
                  <a:pt x="0" y="4610"/>
                </a:lnTo>
                <a:lnTo>
                  <a:pt x="0" y="123990"/>
                </a:lnTo>
                <a:lnTo>
                  <a:pt x="31280" y="123990"/>
                </a:lnTo>
                <a:lnTo>
                  <a:pt x="31280" y="4610"/>
                </a:lnTo>
                <a:close/>
              </a:path>
              <a:path w="525780" h="126365">
                <a:moveTo>
                  <a:pt x="162077" y="56502"/>
                </a:moveTo>
                <a:lnTo>
                  <a:pt x="160286" y="53949"/>
                </a:lnTo>
                <a:lnTo>
                  <a:pt x="117627" y="53949"/>
                </a:lnTo>
                <a:lnTo>
                  <a:pt x="117627" y="78790"/>
                </a:lnTo>
                <a:lnTo>
                  <a:pt x="132689" y="78790"/>
                </a:lnTo>
                <a:lnTo>
                  <a:pt x="132689" y="100241"/>
                </a:lnTo>
                <a:lnTo>
                  <a:pt x="128536" y="100876"/>
                </a:lnTo>
                <a:lnTo>
                  <a:pt x="119126" y="101041"/>
                </a:lnTo>
                <a:lnTo>
                  <a:pt x="103962" y="98412"/>
                </a:lnTo>
                <a:lnTo>
                  <a:pt x="92900" y="90843"/>
                </a:lnTo>
                <a:lnTo>
                  <a:pt x="86131" y="78867"/>
                </a:lnTo>
                <a:lnTo>
                  <a:pt x="83832" y="63004"/>
                </a:lnTo>
                <a:lnTo>
                  <a:pt x="85864" y="47904"/>
                </a:lnTo>
                <a:lnTo>
                  <a:pt x="92049" y="36144"/>
                </a:lnTo>
                <a:lnTo>
                  <a:pt x="102539" y="28498"/>
                </a:lnTo>
                <a:lnTo>
                  <a:pt x="117462" y="25781"/>
                </a:lnTo>
                <a:lnTo>
                  <a:pt x="124129" y="26263"/>
                </a:lnTo>
                <a:lnTo>
                  <a:pt x="131457" y="27609"/>
                </a:lnTo>
                <a:lnTo>
                  <a:pt x="138861" y="29667"/>
                </a:lnTo>
                <a:lnTo>
                  <a:pt x="145732" y="32308"/>
                </a:lnTo>
                <a:lnTo>
                  <a:pt x="158000" y="11379"/>
                </a:lnTo>
                <a:lnTo>
                  <a:pt x="149580" y="6769"/>
                </a:lnTo>
                <a:lnTo>
                  <a:pt x="139433" y="3175"/>
                </a:lnTo>
                <a:lnTo>
                  <a:pt x="127850" y="838"/>
                </a:lnTo>
                <a:lnTo>
                  <a:pt x="115138" y="0"/>
                </a:lnTo>
                <a:lnTo>
                  <a:pt x="88353" y="4610"/>
                </a:lnTo>
                <a:lnTo>
                  <a:pt x="68287" y="17551"/>
                </a:lnTo>
                <a:lnTo>
                  <a:pt x="55714" y="37452"/>
                </a:lnTo>
                <a:lnTo>
                  <a:pt x="51346" y="63004"/>
                </a:lnTo>
                <a:lnTo>
                  <a:pt x="55803" y="90500"/>
                </a:lnTo>
                <a:lnTo>
                  <a:pt x="68973" y="110312"/>
                </a:lnTo>
                <a:lnTo>
                  <a:pt x="90665" y="122301"/>
                </a:lnTo>
                <a:lnTo>
                  <a:pt x="120624" y="126339"/>
                </a:lnTo>
                <a:lnTo>
                  <a:pt x="130987" y="126060"/>
                </a:lnTo>
                <a:lnTo>
                  <a:pt x="142024" y="125272"/>
                </a:lnTo>
                <a:lnTo>
                  <a:pt x="152717" y="124015"/>
                </a:lnTo>
                <a:lnTo>
                  <a:pt x="162077" y="122339"/>
                </a:lnTo>
                <a:lnTo>
                  <a:pt x="162077" y="56502"/>
                </a:lnTo>
                <a:close/>
              </a:path>
              <a:path w="525780" h="126365">
                <a:moveTo>
                  <a:pt x="287299" y="123977"/>
                </a:moveTo>
                <a:lnTo>
                  <a:pt x="273392" y="88887"/>
                </a:lnTo>
                <a:lnTo>
                  <a:pt x="269963" y="81800"/>
                </a:lnTo>
                <a:lnTo>
                  <a:pt x="268922" y="80302"/>
                </a:lnTo>
                <a:lnTo>
                  <a:pt x="265633" y="75552"/>
                </a:lnTo>
                <a:lnTo>
                  <a:pt x="260705" y="70688"/>
                </a:lnTo>
                <a:lnTo>
                  <a:pt x="255498" y="67754"/>
                </a:lnTo>
                <a:lnTo>
                  <a:pt x="264795" y="63754"/>
                </a:lnTo>
                <a:lnTo>
                  <a:pt x="271551" y="56654"/>
                </a:lnTo>
                <a:lnTo>
                  <a:pt x="271729" y="56286"/>
                </a:lnTo>
                <a:lnTo>
                  <a:pt x="275678" y="47548"/>
                </a:lnTo>
                <a:lnTo>
                  <a:pt x="277063" y="37503"/>
                </a:lnTo>
                <a:lnTo>
                  <a:pt x="274815" y="25781"/>
                </a:lnTo>
                <a:lnTo>
                  <a:pt x="273558" y="19227"/>
                </a:lnTo>
                <a:lnTo>
                  <a:pt x="264083" y="8572"/>
                </a:lnTo>
                <a:lnTo>
                  <a:pt x="250215" y="3581"/>
                </a:lnTo>
                <a:lnTo>
                  <a:pt x="247802" y="3403"/>
                </a:lnTo>
                <a:lnTo>
                  <a:pt x="247802" y="28117"/>
                </a:lnTo>
                <a:lnTo>
                  <a:pt x="247802" y="51422"/>
                </a:lnTo>
                <a:lnTo>
                  <a:pt x="240614" y="56286"/>
                </a:lnTo>
                <a:lnTo>
                  <a:pt x="216166" y="56286"/>
                </a:lnTo>
                <a:lnTo>
                  <a:pt x="216166" y="25781"/>
                </a:lnTo>
                <a:lnTo>
                  <a:pt x="240614" y="25781"/>
                </a:lnTo>
                <a:lnTo>
                  <a:pt x="247802" y="28117"/>
                </a:lnTo>
                <a:lnTo>
                  <a:pt x="247802" y="3403"/>
                </a:lnTo>
                <a:lnTo>
                  <a:pt x="233514" y="2349"/>
                </a:lnTo>
                <a:lnTo>
                  <a:pt x="188366" y="2349"/>
                </a:lnTo>
                <a:lnTo>
                  <a:pt x="185597" y="4686"/>
                </a:lnTo>
                <a:lnTo>
                  <a:pt x="185597" y="123977"/>
                </a:lnTo>
                <a:lnTo>
                  <a:pt x="216166" y="123977"/>
                </a:lnTo>
                <a:lnTo>
                  <a:pt x="216166" y="80302"/>
                </a:lnTo>
                <a:lnTo>
                  <a:pt x="235064" y="80302"/>
                </a:lnTo>
                <a:lnTo>
                  <a:pt x="237134" y="83693"/>
                </a:lnTo>
                <a:lnTo>
                  <a:pt x="240080" y="90500"/>
                </a:lnTo>
                <a:lnTo>
                  <a:pt x="254508" y="123977"/>
                </a:lnTo>
                <a:lnTo>
                  <a:pt x="287299" y="123977"/>
                </a:lnTo>
                <a:close/>
              </a:path>
              <a:path w="525780" h="126365">
                <a:moveTo>
                  <a:pt x="413283" y="63004"/>
                </a:moveTo>
                <a:lnTo>
                  <a:pt x="409409" y="38442"/>
                </a:lnTo>
                <a:lnTo>
                  <a:pt x="402247" y="25781"/>
                </a:lnTo>
                <a:lnTo>
                  <a:pt x="398081" y="18415"/>
                </a:lnTo>
                <a:lnTo>
                  <a:pt x="380466" y="5473"/>
                </a:lnTo>
                <a:lnTo>
                  <a:pt x="380466" y="63004"/>
                </a:lnTo>
                <a:lnTo>
                  <a:pt x="378447" y="79794"/>
                </a:lnTo>
                <a:lnTo>
                  <a:pt x="372960" y="91490"/>
                </a:lnTo>
                <a:lnTo>
                  <a:pt x="364820" y="98323"/>
                </a:lnTo>
                <a:lnTo>
                  <a:pt x="354876" y="100558"/>
                </a:lnTo>
                <a:lnTo>
                  <a:pt x="343573" y="98323"/>
                </a:lnTo>
                <a:lnTo>
                  <a:pt x="334683" y="91490"/>
                </a:lnTo>
                <a:lnTo>
                  <a:pt x="328879" y="79794"/>
                </a:lnTo>
                <a:lnTo>
                  <a:pt x="326796" y="63004"/>
                </a:lnTo>
                <a:lnTo>
                  <a:pt x="328879" y="46431"/>
                </a:lnTo>
                <a:lnTo>
                  <a:pt x="334683" y="34836"/>
                </a:lnTo>
                <a:lnTo>
                  <a:pt x="343573" y="28016"/>
                </a:lnTo>
                <a:lnTo>
                  <a:pt x="354876" y="25781"/>
                </a:lnTo>
                <a:lnTo>
                  <a:pt x="364820" y="28016"/>
                </a:lnTo>
                <a:lnTo>
                  <a:pt x="372960" y="34836"/>
                </a:lnTo>
                <a:lnTo>
                  <a:pt x="378447" y="46431"/>
                </a:lnTo>
                <a:lnTo>
                  <a:pt x="380466" y="63004"/>
                </a:lnTo>
                <a:lnTo>
                  <a:pt x="380466" y="5473"/>
                </a:lnTo>
                <a:lnTo>
                  <a:pt x="379742" y="4940"/>
                </a:lnTo>
                <a:lnTo>
                  <a:pt x="354876" y="0"/>
                </a:lnTo>
                <a:lnTo>
                  <a:pt x="328561" y="4940"/>
                </a:lnTo>
                <a:lnTo>
                  <a:pt x="309499" y="18415"/>
                </a:lnTo>
                <a:lnTo>
                  <a:pt x="297891" y="38442"/>
                </a:lnTo>
                <a:lnTo>
                  <a:pt x="293979" y="63004"/>
                </a:lnTo>
                <a:lnTo>
                  <a:pt x="297891" y="87757"/>
                </a:lnTo>
                <a:lnTo>
                  <a:pt x="309499" y="107873"/>
                </a:lnTo>
                <a:lnTo>
                  <a:pt x="328561" y="121386"/>
                </a:lnTo>
                <a:lnTo>
                  <a:pt x="354876" y="126339"/>
                </a:lnTo>
                <a:lnTo>
                  <a:pt x="379742" y="121386"/>
                </a:lnTo>
                <a:lnTo>
                  <a:pt x="398081" y="107873"/>
                </a:lnTo>
                <a:lnTo>
                  <a:pt x="402196" y="100558"/>
                </a:lnTo>
                <a:lnTo>
                  <a:pt x="409409" y="87757"/>
                </a:lnTo>
                <a:lnTo>
                  <a:pt x="413283" y="63004"/>
                </a:lnTo>
                <a:close/>
              </a:path>
              <a:path w="525780" h="126365">
                <a:moveTo>
                  <a:pt x="525373" y="84010"/>
                </a:moveTo>
                <a:lnTo>
                  <a:pt x="521106" y="68910"/>
                </a:lnTo>
                <a:lnTo>
                  <a:pt x="510349" y="59029"/>
                </a:lnTo>
                <a:lnTo>
                  <a:pt x="496087" y="52641"/>
                </a:lnTo>
                <a:lnTo>
                  <a:pt x="470852" y="44856"/>
                </a:lnTo>
                <a:lnTo>
                  <a:pt x="462483" y="41643"/>
                </a:lnTo>
                <a:lnTo>
                  <a:pt x="462483" y="28943"/>
                </a:lnTo>
                <a:lnTo>
                  <a:pt x="468998" y="24587"/>
                </a:lnTo>
                <a:lnTo>
                  <a:pt x="480529" y="24587"/>
                </a:lnTo>
                <a:lnTo>
                  <a:pt x="487527" y="25273"/>
                </a:lnTo>
                <a:lnTo>
                  <a:pt x="494207" y="27152"/>
                </a:lnTo>
                <a:lnTo>
                  <a:pt x="500672" y="29959"/>
                </a:lnTo>
                <a:lnTo>
                  <a:pt x="506984" y="33451"/>
                </a:lnTo>
                <a:lnTo>
                  <a:pt x="523875" y="14224"/>
                </a:lnTo>
                <a:lnTo>
                  <a:pt x="516775" y="8902"/>
                </a:lnTo>
                <a:lnTo>
                  <a:pt x="507199" y="4356"/>
                </a:lnTo>
                <a:lnTo>
                  <a:pt x="495414" y="1181"/>
                </a:lnTo>
                <a:lnTo>
                  <a:pt x="481711" y="0"/>
                </a:lnTo>
                <a:lnTo>
                  <a:pt x="461162" y="2616"/>
                </a:lnTo>
                <a:lnTo>
                  <a:pt x="444652" y="10287"/>
                </a:lnTo>
                <a:lnTo>
                  <a:pt x="433666" y="22733"/>
                </a:lnTo>
                <a:lnTo>
                  <a:pt x="429679" y="39674"/>
                </a:lnTo>
                <a:lnTo>
                  <a:pt x="433146" y="54495"/>
                </a:lnTo>
                <a:lnTo>
                  <a:pt x="442087" y="64452"/>
                </a:lnTo>
                <a:lnTo>
                  <a:pt x="454329" y="70942"/>
                </a:lnTo>
                <a:lnTo>
                  <a:pt x="467664" y="75311"/>
                </a:lnTo>
                <a:lnTo>
                  <a:pt x="477812" y="78232"/>
                </a:lnTo>
                <a:lnTo>
                  <a:pt x="485940" y="81229"/>
                </a:lnTo>
                <a:lnTo>
                  <a:pt x="491337" y="84975"/>
                </a:lnTo>
                <a:lnTo>
                  <a:pt x="493293" y="90157"/>
                </a:lnTo>
                <a:lnTo>
                  <a:pt x="493293" y="98882"/>
                </a:lnTo>
                <a:lnTo>
                  <a:pt x="483374" y="100406"/>
                </a:lnTo>
                <a:lnTo>
                  <a:pt x="475513" y="100406"/>
                </a:lnTo>
                <a:lnTo>
                  <a:pt x="465023" y="99199"/>
                </a:lnTo>
                <a:lnTo>
                  <a:pt x="454888" y="96215"/>
                </a:lnTo>
                <a:lnTo>
                  <a:pt x="445897" y="92354"/>
                </a:lnTo>
                <a:lnTo>
                  <a:pt x="438861" y="88531"/>
                </a:lnTo>
                <a:lnTo>
                  <a:pt x="424992" y="113118"/>
                </a:lnTo>
                <a:lnTo>
                  <a:pt x="433235" y="117652"/>
                </a:lnTo>
                <a:lnTo>
                  <a:pt x="444576" y="121920"/>
                </a:lnTo>
                <a:lnTo>
                  <a:pt x="458177" y="125095"/>
                </a:lnTo>
                <a:lnTo>
                  <a:pt x="473189" y="126339"/>
                </a:lnTo>
                <a:lnTo>
                  <a:pt x="494893" y="123253"/>
                </a:lnTo>
                <a:lnTo>
                  <a:pt x="511327" y="114579"/>
                </a:lnTo>
                <a:lnTo>
                  <a:pt x="521728" y="101206"/>
                </a:lnTo>
                <a:lnTo>
                  <a:pt x="525373" y="84010"/>
                </a:lnTo>
                <a:close/>
              </a:path>
            </a:pathLst>
          </a:custGeom>
          <a:solidFill>
            <a:srgbClr val="FF6600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9" name="bg object 19"/>
          <p:cNvPicPr/>
          <p:nvPr/>
        </p:nvPicPr>
        <p:blipFill>
          <a:blip r:embed="rId12" cstate="print"/>
          <a:stretch>
            <a:fillRect/>
          </a:stretch>
        </p:blipFill>
        <p:spPr>
          <a:xfrm>
            <a:off x="18988547" y="11121688"/>
            <a:ext cx="106384" cy="122425"/>
          </a:xfrm>
          <a:prstGeom prst="rect">
            <a:avLst/>
          </a:prstGeom>
        </p:spPr>
      </p:pic>
      <p:pic>
        <p:nvPicPr>
          <p:cNvPr id="20" name="bg object 20"/>
          <p:cNvPicPr/>
          <p:nvPr/>
        </p:nvPicPr>
        <p:blipFill>
          <a:blip r:embed="rId13" cstate="print"/>
          <a:stretch>
            <a:fillRect/>
          </a:stretch>
        </p:blipFill>
        <p:spPr>
          <a:xfrm>
            <a:off x="19114090" y="11122747"/>
            <a:ext cx="194739" cy="120650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9330214" y="11095424"/>
            <a:ext cx="286385" cy="148590"/>
          </a:xfrm>
          <a:custGeom>
            <a:avLst/>
            <a:gdLst/>
            <a:ahLst/>
            <a:cxnLst/>
            <a:rect l="l" t="t" r="r" b="b"/>
            <a:pathLst>
              <a:path w="286384" h="148590">
                <a:moveTo>
                  <a:pt x="55600" y="25006"/>
                </a:moveTo>
                <a:lnTo>
                  <a:pt x="38265" y="0"/>
                </a:lnTo>
                <a:lnTo>
                  <a:pt x="4711" y="0"/>
                </a:lnTo>
                <a:lnTo>
                  <a:pt x="29883" y="25006"/>
                </a:lnTo>
                <a:lnTo>
                  <a:pt x="55600" y="25006"/>
                </a:lnTo>
                <a:close/>
              </a:path>
              <a:path w="286384" h="148590">
                <a:moveTo>
                  <a:pt x="78028" y="122580"/>
                </a:moveTo>
                <a:lnTo>
                  <a:pt x="30302" y="122580"/>
                </a:lnTo>
                <a:lnTo>
                  <a:pt x="30302" y="98450"/>
                </a:lnTo>
                <a:lnTo>
                  <a:pt x="72999" y="98450"/>
                </a:lnTo>
                <a:lnTo>
                  <a:pt x="72999" y="73050"/>
                </a:lnTo>
                <a:lnTo>
                  <a:pt x="30302" y="73050"/>
                </a:lnTo>
                <a:lnTo>
                  <a:pt x="30302" y="52730"/>
                </a:lnTo>
                <a:lnTo>
                  <a:pt x="75552" y="52730"/>
                </a:lnTo>
                <a:lnTo>
                  <a:pt x="75552" y="27330"/>
                </a:lnTo>
                <a:lnTo>
                  <a:pt x="0" y="27330"/>
                </a:lnTo>
                <a:lnTo>
                  <a:pt x="0" y="52730"/>
                </a:lnTo>
                <a:lnTo>
                  <a:pt x="0" y="73050"/>
                </a:lnTo>
                <a:lnTo>
                  <a:pt x="0" y="98450"/>
                </a:lnTo>
                <a:lnTo>
                  <a:pt x="0" y="122580"/>
                </a:lnTo>
                <a:lnTo>
                  <a:pt x="0" y="147980"/>
                </a:lnTo>
                <a:lnTo>
                  <a:pt x="78028" y="147980"/>
                </a:lnTo>
                <a:lnTo>
                  <a:pt x="78028" y="122580"/>
                </a:lnTo>
                <a:close/>
              </a:path>
              <a:path w="286384" h="148590">
                <a:moveTo>
                  <a:pt x="197739" y="27419"/>
                </a:moveTo>
                <a:lnTo>
                  <a:pt x="165481" y="27419"/>
                </a:lnTo>
                <a:lnTo>
                  <a:pt x="150317" y="78422"/>
                </a:lnTo>
                <a:lnTo>
                  <a:pt x="145415" y="95707"/>
                </a:lnTo>
                <a:lnTo>
                  <a:pt x="141503" y="111213"/>
                </a:lnTo>
                <a:lnTo>
                  <a:pt x="137693" y="95631"/>
                </a:lnTo>
                <a:lnTo>
                  <a:pt x="118300" y="27419"/>
                </a:lnTo>
                <a:lnTo>
                  <a:pt x="85229" y="27419"/>
                </a:lnTo>
                <a:lnTo>
                  <a:pt x="123761" y="147523"/>
                </a:lnTo>
                <a:lnTo>
                  <a:pt x="157353" y="147523"/>
                </a:lnTo>
                <a:lnTo>
                  <a:pt x="197739" y="27419"/>
                </a:lnTo>
                <a:close/>
              </a:path>
              <a:path w="286384" h="148590">
                <a:moveTo>
                  <a:pt x="286054" y="121970"/>
                </a:moveTo>
                <a:lnTo>
                  <a:pt x="238328" y="121970"/>
                </a:lnTo>
                <a:lnTo>
                  <a:pt x="238328" y="97840"/>
                </a:lnTo>
                <a:lnTo>
                  <a:pt x="281025" y="97840"/>
                </a:lnTo>
                <a:lnTo>
                  <a:pt x="281025" y="73710"/>
                </a:lnTo>
                <a:lnTo>
                  <a:pt x="238328" y="73710"/>
                </a:lnTo>
                <a:lnTo>
                  <a:pt x="238328" y="53390"/>
                </a:lnTo>
                <a:lnTo>
                  <a:pt x="283591" y="53390"/>
                </a:lnTo>
                <a:lnTo>
                  <a:pt x="283591" y="27990"/>
                </a:lnTo>
                <a:lnTo>
                  <a:pt x="208026" y="27990"/>
                </a:lnTo>
                <a:lnTo>
                  <a:pt x="208026" y="53390"/>
                </a:lnTo>
                <a:lnTo>
                  <a:pt x="208026" y="73710"/>
                </a:lnTo>
                <a:lnTo>
                  <a:pt x="208026" y="97840"/>
                </a:lnTo>
                <a:lnTo>
                  <a:pt x="208026" y="121970"/>
                </a:lnTo>
                <a:lnTo>
                  <a:pt x="208026" y="147370"/>
                </a:lnTo>
                <a:lnTo>
                  <a:pt x="286054" y="147370"/>
                </a:lnTo>
                <a:lnTo>
                  <a:pt x="286054" y="121970"/>
                </a:lnTo>
                <a:close/>
              </a:path>
            </a:pathLst>
          </a:custGeom>
          <a:solidFill>
            <a:srgbClr val="9C9B9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288328" y="1101416"/>
            <a:ext cx="17383125" cy="6540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100" b="1" i="0">
                <a:solidFill>
                  <a:srgbClr val="2F4048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005205" y="2601150"/>
            <a:ext cx="18093690" cy="74641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6835394" y="10517696"/>
            <a:ext cx="6433312" cy="5654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1005205" y="10517696"/>
            <a:ext cx="4623943" cy="5654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D32099-C600-4F34-AC6D-4C78B8B70C28}" type="datetime1">
              <a:rPr lang="en-US" smtClean="0"/>
              <a:t>11/19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359793" y="10988120"/>
            <a:ext cx="279400" cy="22479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4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650"/>
              </a:lnSpc>
            </a:pPr>
            <a:fld id="{81D60167-4931-47E6-BA6A-407CBD079E47}" type="slidenum">
              <a:rPr spc="-25" dirty="0"/>
              <a:t>‹N°›</a:t>
            </a:fld>
            <a:endParaRPr spc="-25"/>
          </a:p>
        </p:txBody>
      </p:sp>
      <p:sp>
        <p:nvSpPr>
          <p:cNvPr id="8" name="Espace réservé du pied de page 1">
            <a:extLst>
              <a:ext uri="{FF2B5EF4-FFF2-40B4-BE49-F238E27FC236}">
                <a16:creationId xmlns:a16="http://schemas.microsoft.com/office/drawing/2014/main" id="{6E51EFB0-AC5A-47EA-B742-5EBA277913A7}"/>
              </a:ext>
            </a:extLst>
          </p:cNvPr>
          <p:cNvSpPr txBox="1">
            <a:spLocks/>
          </p:cNvSpPr>
          <p:nvPr userDrawn="1"/>
        </p:nvSpPr>
        <p:spPr>
          <a:xfrm>
            <a:off x="440086" y="10952668"/>
            <a:ext cx="12055153" cy="203004"/>
          </a:xfrm>
          <a:prstGeom prst="rect">
            <a:avLst/>
          </a:prstGeom>
        </p:spPr>
        <p:txBody>
          <a:bodyPr/>
          <a:lstStyle>
            <a:defPPr>
              <a:defRPr kern="0"/>
            </a:defPPr>
          </a:lstStyle>
          <a:p>
            <a:pPr algn="l" defTabSz="1507846" rt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CH" sz="1319" kern="1200" dirty="0">
                <a:solidFill>
                  <a:srgbClr val="FFFFFF">
                    <a:lumMod val="50000"/>
                  </a:srgbClr>
                </a:solidFill>
                <a:latin typeface="Arial" charset="0"/>
                <a:ea typeface="+mn-ea"/>
                <a:cs typeface="+mn-cs"/>
              </a:rPr>
              <a:t>Coopérative Migros Genève  |  21 novembre 2025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769" r:id="rId6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04466823"/>
              </p:ext>
            </p:extLst>
          </p:nvPr>
        </p:nvGraphicFramePr>
        <p:xfrm>
          <a:off x="3230" y="2628"/>
          <a:ext cx="3220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7" imgW="270" imgH="270" progId="TCLayout.ActiveDocument.1">
                  <p:embed/>
                </p:oleObj>
              </mc:Choice>
              <mc:Fallback>
                <p:oleObj name="Diapositive think-cell" r:id="rId7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230" y="2628"/>
                        <a:ext cx="3220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6"/>
            </p:custDataLst>
          </p:nvPr>
        </p:nvSpPr>
        <p:spPr bwMode="auto">
          <a:xfrm>
            <a:off x="0" y="0"/>
            <a:ext cx="261772" cy="261791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buClr>
                <a:schemeClr val="accent1"/>
              </a:buClr>
              <a:buFontTx/>
              <a:buNone/>
            </a:pPr>
            <a:endParaRPr lang="de-CH" sz="3958" b="0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4480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55273" y="427440"/>
            <a:ext cx="18991503" cy="713967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e-CH"/>
              <a:t>Titelmasterformat durch Klicken bearbeiten</a:t>
            </a:r>
          </a:p>
        </p:txBody>
      </p:sp>
      <p:sp>
        <p:nvSpPr>
          <p:cNvPr id="68" name="Fußzeilenplatzhalter 24"/>
          <p:cNvSpPr txBox="1">
            <a:spLocks/>
          </p:cNvSpPr>
          <p:nvPr/>
        </p:nvSpPr>
        <p:spPr>
          <a:xfrm>
            <a:off x="2375580" y="10950866"/>
            <a:ext cx="12584401" cy="20300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898989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15078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1319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cxnSp>
        <p:nvCxnSpPr>
          <p:cNvPr id="46" name="Gerade Verbindung 45"/>
          <p:cNvCxnSpPr/>
          <p:nvPr/>
        </p:nvCxnSpPr>
        <p:spPr>
          <a:xfrm>
            <a:off x="-132421" y="1852973"/>
            <a:ext cx="0" cy="8906618"/>
          </a:xfrm>
          <a:prstGeom prst="line">
            <a:avLst/>
          </a:prstGeom>
          <a:ln w="38100">
            <a:solidFill>
              <a:schemeClr val="bg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39"/>
          <p:cNvCxnSpPr>
            <a:cxnSpLocks/>
          </p:cNvCxnSpPr>
          <p:nvPr/>
        </p:nvCxnSpPr>
        <p:spPr>
          <a:xfrm flipH="1">
            <a:off x="-231892" y="1852722"/>
            <a:ext cx="219184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 Verbindung 39"/>
          <p:cNvCxnSpPr>
            <a:cxnSpLocks/>
          </p:cNvCxnSpPr>
          <p:nvPr/>
        </p:nvCxnSpPr>
        <p:spPr>
          <a:xfrm flipH="1">
            <a:off x="-231892" y="10759590"/>
            <a:ext cx="219184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31"/>
          <p:cNvCxnSpPr/>
          <p:nvPr/>
        </p:nvCxnSpPr>
        <p:spPr>
          <a:xfrm rot="5400000" flipH="1">
            <a:off x="476306" y="11399264"/>
            <a:ext cx="148417" cy="0"/>
          </a:xfrm>
          <a:prstGeom prst="line">
            <a:avLst/>
          </a:prstGeom>
          <a:ln w="31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Gerade Verbindung 79"/>
          <p:cNvCxnSpPr/>
          <p:nvPr/>
        </p:nvCxnSpPr>
        <p:spPr>
          <a:xfrm flipV="1">
            <a:off x="555269" y="11429692"/>
            <a:ext cx="18975431" cy="2"/>
          </a:xfrm>
          <a:prstGeom prst="line">
            <a:avLst/>
          </a:prstGeom>
          <a:ln w="38100">
            <a:solidFill>
              <a:schemeClr val="bg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feld 80"/>
          <p:cNvSpPr txBox="1"/>
          <p:nvPr/>
        </p:nvSpPr>
        <p:spPr bwMode="auto">
          <a:xfrm>
            <a:off x="9141164" y="11532629"/>
            <a:ext cx="1479572" cy="253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 eaLnBrk="0" hangingPunct="0">
              <a:buClr>
                <a:schemeClr val="tx2"/>
              </a:buClr>
              <a:buSzPct val="100000"/>
            </a:pPr>
            <a:r>
              <a:rPr lang="de-CH" sz="1649" b="1">
                <a:solidFill>
                  <a:schemeClr val="bg1"/>
                </a:solidFill>
              </a:rPr>
              <a:t>Arbeitsbereich</a:t>
            </a:r>
          </a:p>
        </p:txBody>
      </p:sp>
      <p:cxnSp>
        <p:nvCxnSpPr>
          <p:cNvPr id="82" name="Gerade Verbindung 39"/>
          <p:cNvCxnSpPr>
            <a:cxnSpLocks/>
          </p:cNvCxnSpPr>
          <p:nvPr/>
        </p:nvCxnSpPr>
        <p:spPr>
          <a:xfrm flipH="1">
            <a:off x="555686" y="11321754"/>
            <a:ext cx="2" cy="3562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39"/>
          <p:cNvCxnSpPr>
            <a:cxnSpLocks/>
          </p:cNvCxnSpPr>
          <p:nvPr/>
        </p:nvCxnSpPr>
        <p:spPr>
          <a:xfrm>
            <a:off x="19546399" y="11316527"/>
            <a:ext cx="0" cy="3562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feld 49"/>
          <p:cNvSpPr txBox="1"/>
          <p:nvPr/>
        </p:nvSpPr>
        <p:spPr bwMode="auto">
          <a:xfrm rot="16200000">
            <a:off x="-1228646" y="6192831"/>
            <a:ext cx="1599458" cy="253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59363" tIns="0" rIns="59363" bIns="0" rtlCol="0">
            <a:spAutoFit/>
          </a:bodyPr>
          <a:lstStyle/>
          <a:p>
            <a:pPr eaLnBrk="0" hangingPunct="0">
              <a:buClr>
                <a:schemeClr val="tx2"/>
              </a:buClr>
              <a:buSzPct val="100000"/>
            </a:pPr>
            <a:r>
              <a:rPr lang="de-CH" sz="1649" b="1">
                <a:solidFill>
                  <a:schemeClr val="bg1"/>
                </a:solidFill>
              </a:rPr>
              <a:t>Arbeitsbereich</a:t>
            </a:r>
            <a:endParaRPr lang="de-CH" sz="1237" b="1">
              <a:solidFill>
                <a:schemeClr val="bg1"/>
              </a:solidFill>
            </a:endParaRPr>
          </a:p>
        </p:txBody>
      </p:sp>
      <p:sp>
        <p:nvSpPr>
          <p:cNvPr id="5" name="Gleichschenkliges Dreieck 4"/>
          <p:cNvSpPr/>
          <p:nvPr/>
        </p:nvSpPr>
        <p:spPr bwMode="auto">
          <a:xfrm rot="16200000">
            <a:off x="20118558" y="6192068"/>
            <a:ext cx="185260" cy="219209"/>
          </a:xfrm>
          <a:prstGeom prst="triangle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59363" tIns="59363" rIns="59363" bIns="59363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CH" sz="2309" err="1"/>
          </a:p>
        </p:txBody>
      </p:sp>
      <p:sp>
        <p:nvSpPr>
          <p:cNvPr id="59" name="Gleichschenkliges Dreieck 58"/>
          <p:cNvSpPr/>
          <p:nvPr/>
        </p:nvSpPr>
        <p:spPr bwMode="auto">
          <a:xfrm rot="5400000">
            <a:off x="-203897" y="6196676"/>
            <a:ext cx="185260" cy="219209"/>
          </a:xfrm>
          <a:prstGeom prst="triangle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59363" tIns="59363" rIns="59363" bIns="59363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CH" sz="2309" err="1"/>
          </a:p>
        </p:txBody>
      </p:sp>
      <p:sp>
        <p:nvSpPr>
          <p:cNvPr id="60" name="Gleichschenkliges Dreieck 59"/>
          <p:cNvSpPr/>
          <p:nvPr/>
        </p:nvSpPr>
        <p:spPr bwMode="auto">
          <a:xfrm>
            <a:off x="9934775" y="11314831"/>
            <a:ext cx="227997" cy="178120"/>
          </a:xfrm>
          <a:prstGeom prst="triangle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59363" tIns="59363" rIns="59363" bIns="59363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CH" sz="2309" err="1"/>
          </a:p>
        </p:txBody>
      </p:sp>
      <p:pic>
        <p:nvPicPr>
          <p:cNvPr id="8" name="MigrosClassification_P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683053" y="192335"/>
            <a:ext cx="737995" cy="599663"/>
          </a:xfrm>
          <a:prstGeom prst="rect">
            <a:avLst/>
          </a:prstGeom>
        </p:spPr>
      </p:pic>
      <p:sp>
        <p:nvSpPr>
          <p:cNvPr id="21" name="Textplatzhalter 10"/>
          <p:cNvSpPr>
            <a:spLocks noGrp="1"/>
          </p:cNvSpPr>
          <p:nvPr>
            <p:ph type="body" idx="1"/>
          </p:nvPr>
        </p:nvSpPr>
        <p:spPr>
          <a:xfrm>
            <a:off x="554150" y="1852727"/>
            <a:ext cx="18991503" cy="7463648"/>
          </a:xfrm>
          <a:prstGeom prst="rect">
            <a:avLst/>
          </a:prstGeom>
        </p:spPr>
        <p:txBody>
          <a:bodyPr vert="horz" lIns="0" tIns="36000" rIns="0" bIns="3600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344579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</p:sldLayoutIdLst>
  <p:hf hdr="0" ft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3958" b="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5442"/>
        </a:lnSpc>
        <a:spcBef>
          <a:spcPct val="0"/>
        </a:spcBef>
        <a:spcAft>
          <a:spcPct val="0"/>
        </a:spcAft>
        <a:defRPr sz="4947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ts val="5442"/>
        </a:lnSpc>
        <a:spcBef>
          <a:spcPct val="0"/>
        </a:spcBef>
        <a:spcAft>
          <a:spcPct val="0"/>
        </a:spcAft>
        <a:defRPr sz="4947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ts val="5442"/>
        </a:lnSpc>
        <a:spcBef>
          <a:spcPct val="0"/>
        </a:spcBef>
        <a:spcAft>
          <a:spcPct val="0"/>
        </a:spcAft>
        <a:defRPr sz="4947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ts val="5442"/>
        </a:lnSpc>
        <a:spcBef>
          <a:spcPct val="0"/>
        </a:spcBef>
        <a:spcAft>
          <a:spcPct val="0"/>
        </a:spcAft>
        <a:defRPr sz="4947">
          <a:solidFill>
            <a:schemeClr val="tx2"/>
          </a:solidFill>
          <a:latin typeface="Arial" charset="0"/>
        </a:defRPr>
      </a:lvl5pPr>
      <a:lvl6pPr marL="753923" algn="l" rtl="0" eaLnBrk="1" fontAlgn="base" hangingPunct="1">
        <a:lnSpc>
          <a:spcPts val="5442"/>
        </a:lnSpc>
        <a:spcBef>
          <a:spcPct val="0"/>
        </a:spcBef>
        <a:spcAft>
          <a:spcPct val="0"/>
        </a:spcAft>
        <a:defRPr sz="4947">
          <a:solidFill>
            <a:schemeClr val="tx2"/>
          </a:solidFill>
          <a:latin typeface="Arial" charset="0"/>
        </a:defRPr>
      </a:lvl6pPr>
      <a:lvl7pPr marL="1507846" algn="l" rtl="0" eaLnBrk="1" fontAlgn="base" hangingPunct="1">
        <a:lnSpc>
          <a:spcPts val="5442"/>
        </a:lnSpc>
        <a:spcBef>
          <a:spcPct val="0"/>
        </a:spcBef>
        <a:spcAft>
          <a:spcPct val="0"/>
        </a:spcAft>
        <a:defRPr sz="4947">
          <a:solidFill>
            <a:schemeClr val="tx2"/>
          </a:solidFill>
          <a:latin typeface="Arial" charset="0"/>
        </a:defRPr>
      </a:lvl7pPr>
      <a:lvl8pPr marL="2261768" algn="l" rtl="0" eaLnBrk="1" fontAlgn="base" hangingPunct="1">
        <a:lnSpc>
          <a:spcPts val="5442"/>
        </a:lnSpc>
        <a:spcBef>
          <a:spcPct val="0"/>
        </a:spcBef>
        <a:spcAft>
          <a:spcPct val="0"/>
        </a:spcAft>
        <a:defRPr sz="4947">
          <a:solidFill>
            <a:schemeClr val="tx2"/>
          </a:solidFill>
          <a:latin typeface="Arial" charset="0"/>
        </a:defRPr>
      </a:lvl8pPr>
      <a:lvl9pPr marL="3015691" algn="l" rtl="0" eaLnBrk="1" fontAlgn="base" hangingPunct="1">
        <a:lnSpc>
          <a:spcPts val="5442"/>
        </a:lnSpc>
        <a:spcBef>
          <a:spcPct val="0"/>
        </a:spcBef>
        <a:spcAft>
          <a:spcPct val="0"/>
        </a:spcAft>
        <a:defRPr sz="4947">
          <a:solidFill>
            <a:schemeClr val="tx2"/>
          </a:solidFill>
          <a:latin typeface="Arial" charset="0"/>
        </a:defRPr>
      </a:lvl9pPr>
    </p:titleStyle>
    <p:bodyStyle>
      <a:lvl1pPr marL="298428" indent="-298428" algn="l" rtl="0" eaLnBrk="1" fontAlgn="base" hangingPunct="1">
        <a:lnSpc>
          <a:spcPct val="100000"/>
        </a:lnSpc>
        <a:spcBef>
          <a:spcPct val="0"/>
        </a:spcBef>
        <a:spcAft>
          <a:spcPts val="989"/>
        </a:spcAft>
        <a:buClr>
          <a:schemeClr val="accent1"/>
        </a:buClr>
        <a:buFont typeface="Arial" panose="020B0604020202020204" pitchFamily="34" charset="0"/>
        <a:buChar char="•"/>
        <a:defRPr sz="2638">
          <a:solidFill>
            <a:schemeClr val="tx1"/>
          </a:solidFill>
          <a:latin typeface="+mn-lt"/>
          <a:ea typeface="+mn-ea"/>
          <a:cs typeface="+mn-cs"/>
        </a:defRPr>
      </a:lvl1pPr>
      <a:lvl2pPr marL="293192" indent="-293192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chemeClr val="accent1"/>
        </a:buClr>
        <a:buChar char="•"/>
        <a:defRPr sz="2638">
          <a:solidFill>
            <a:schemeClr val="tx1"/>
          </a:solidFill>
          <a:latin typeface="+mn-lt"/>
        </a:defRPr>
      </a:lvl2pPr>
      <a:lvl3pPr marL="591620" indent="-298428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chemeClr val="accent1"/>
        </a:buClr>
        <a:buFont typeface="Arial Unicode MS" panose="020B0604020202020204" pitchFamily="34" charset="-128"/>
        <a:buChar char="ｰ"/>
        <a:defRPr sz="2638">
          <a:solidFill>
            <a:schemeClr val="tx1"/>
          </a:solidFill>
          <a:latin typeface="+mn-lt"/>
        </a:defRPr>
      </a:lvl3pPr>
      <a:lvl4pPr marL="884812" indent="-293192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chemeClr val="accent1"/>
        </a:buClr>
        <a:buFont typeface="Arial Unicode MS" panose="020B0604020202020204" pitchFamily="34" charset="-128"/>
        <a:buChar char="-"/>
        <a:defRPr sz="2638">
          <a:solidFill>
            <a:schemeClr val="tx1"/>
          </a:solidFill>
          <a:latin typeface="+mn-lt"/>
        </a:defRPr>
      </a:lvl4pPr>
      <a:lvl5pPr marL="1183240" indent="-298428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-"/>
        <a:defRPr lang="de-CH" sz="2638" dirty="0">
          <a:solidFill>
            <a:schemeClr val="tx1"/>
          </a:solidFill>
          <a:latin typeface="+mn-lt"/>
        </a:defRPr>
      </a:lvl5pPr>
      <a:lvl6pPr marL="4410973" indent="-332460" algn="l" rtl="0" eaLnBrk="1" fontAlgn="base" hangingPunct="1">
        <a:lnSpc>
          <a:spcPts val="4452"/>
        </a:lnSpc>
        <a:spcBef>
          <a:spcPct val="0"/>
        </a:spcBef>
        <a:spcAft>
          <a:spcPct val="40000"/>
        </a:spcAft>
        <a:buClr>
          <a:schemeClr val="tx2"/>
        </a:buClr>
        <a:buFont typeface="Times" pitchFamily="18" charset="0"/>
        <a:buChar char="»"/>
        <a:defRPr sz="3958">
          <a:solidFill>
            <a:schemeClr val="tx1"/>
          </a:solidFill>
          <a:latin typeface="+mn-lt"/>
        </a:defRPr>
      </a:lvl6pPr>
      <a:lvl7pPr marL="5164896" indent="-332460" algn="l" rtl="0" eaLnBrk="1" fontAlgn="base" hangingPunct="1">
        <a:lnSpc>
          <a:spcPts val="4452"/>
        </a:lnSpc>
        <a:spcBef>
          <a:spcPct val="0"/>
        </a:spcBef>
        <a:spcAft>
          <a:spcPct val="40000"/>
        </a:spcAft>
        <a:buClr>
          <a:schemeClr val="tx2"/>
        </a:buClr>
        <a:buFont typeface="Times" pitchFamily="18" charset="0"/>
        <a:buChar char="»"/>
        <a:defRPr sz="3958">
          <a:solidFill>
            <a:schemeClr val="tx1"/>
          </a:solidFill>
          <a:latin typeface="+mn-lt"/>
        </a:defRPr>
      </a:lvl7pPr>
      <a:lvl8pPr marL="5918818" indent="-332460" algn="l" rtl="0" eaLnBrk="1" fontAlgn="base" hangingPunct="1">
        <a:lnSpc>
          <a:spcPts val="4452"/>
        </a:lnSpc>
        <a:spcBef>
          <a:spcPct val="0"/>
        </a:spcBef>
        <a:spcAft>
          <a:spcPct val="40000"/>
        </a:spcAft>
        <a:buClr>
          <a:schemeClr val="tx2"/>
        </a:buClr>
        <a:buFont typeface="Times" pitchFamily="18" charset="0"/>
        <a:buChar char="»"/>
        <a:defRPr sz="3958">
          <a:solidFill>
            <a:schemeClr val="tx1"/>
          </a:solidFill>
          <a:latin typeface="+mn-lt"/>
        </a:defRPr>
      </a:lvl8pPr>
      <a:lvl9pPr marL="6672741" indent="-332460" algn="l" rtl="0" eaLnBrk="1" fontAlgn="base" hangingPunct="1">
        <a:lnSpc>
          <a:spcPts val="4452"/>
        </a:lnSpc>
        <a:spcBef>
          <a:spcPct val="0"/>
        </a:spcBef>
        <a:spcAft>
          <a:spcPct val="40000"/>
        </a:spcAft>
        <a:buClr>
          <a:schemeClr val="tx2"/>
        </a:buClr>
        <a:buFont typeface="Times" pitchFamily="18" charset="0"/>
        <a:buChar char="»"/>
        <a:defRPr sz="3958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1pPr>
      <a:lvl2pPr marL="753923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2pPr>
      <a:lvl3pPr marL="1507846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3pPr>
      <a:lvl4pPr marL="2261768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4pPr>
      <a:lvl5pPr marL="3015691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5pPr>
      <a:lvl6pPr marL="3769614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523537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27746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031382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04466823"/>
              </p:ext>
            </p:extLst>
          </p:nvPr>
        </p:nvGraphicFramePr>
        <p:xfrm>
          <a:off x="3230" y="2628"/>
          <a:ext cx="3220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7" imgW="270" imgH="270" progId="TCLayout.ActiveDocument.1">
                  <p:embed/>
                </p:oleObj>
              </mc:Choice>
              <mc:Fallback>
                <p:oleObj name="Diapositive think-cell" r:id="rId7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230" y="2628"/>
                        <a:ext cx="3220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6"/>
            </p:custDataLst>
          </p:nvPr>
        </p:nvSpPr>
        <p:spPr bwMode="auto">
          <a:xfrm>
            <a:off x="0" y="0"/>
            <a:ext cx="261772" cy="261791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buClr>
                <a:schemeClr val="accent1"/>
              </a:buClr>
              <a:buFontTx/>
              <a:buNone/>
            </a:pPr>
            <a:endParaRPr lang="de-CH" sz="3958" b="0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4480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55273" y="427440"/>
            <a:ext cx="18991503" cy="713967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e-CH"/>
              <a:t>Titelmasterformat durch Klicken bearbeiten</a:t>
            </a:r>
          </a:p>
        </p:txBody>
      </p:sp>
      <p:sp>
        <p:nvSpPr>
          <p:cNvPr id="68" name="Fußzeilenplatzhalter 24"/>
          <p:cNvSpPr txBox="1">
            <a:spLocks/>
          </p:cNvSpPr>
          <p:nvPr/>
        </p:nvSpPr>
        <p:spPr>
          <a:xfrm>
            <a:off x="2375580" y="10950866"/>
            <a:ext cx="12584401" cy="20300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898989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15078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1319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cxnSp>
        <p:nvCxnSpPr>
          <p:cNvPr id="46" name="Gerade Verbindung 45"/>
          <p:cNvCxnSpPr/>
          <p:nvPr/>
        </p:nvCxnSpPr>
        <p:spPr>
          <a:xfrm>
            <a:off x="-132421" y="1852973"/>
            <a:ext cx="0" cy="8906618"/>
          </a:xfrm>
          <a:prstGeom prst="line">
            <a:avLst/>
          </a:prstGeom>
          <a:ln w="38100">
            <a:solidFill>
              <a:schemeClr val="bg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39"/>
          <p:cNvCxnSpPr>
            <a:cxnSpLocks/>
          </p:cNvCxnSpPr>
          <p:nvPr/>
        </p:nvCxnSpPr>
        <p:spPr>
          <a:xfrm flipH="1">
            <a:off x="-231892" y="1852722"/>
            <a:ext cx="219184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 Verbindung 39"/>
          <p:cNvCxnSpPr>
            <a:cxnSpLocks/>
          </p:cNvCxnSpPr>
          <p:nvPr/>
        </p:nvCxnSpPr>
        <p:spPr>
          <a:xfrm flipH="1">
            <a:off x="-231892" y="10759590"/>
            <a:ext cx="219184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31"/>
          <p:cNvCxnSpPr/>
          <p:nvPr/>
        </p:nvCxnSpPr>
        <p:spPr>
          <a:xfrm rot="5400000" flipH="1">
            <a:off x="476306" y="11399264"/>
            <a:ext cx="148417" cy="0"/>
          </a:xfrm>
          <a:prstGeom prst="line">
            <a:avLst/>
          </a:prstGeom>
          <a:ln w="31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Gerade Verbindung 79"/>
          <p:cNvCxnSpPr/>
          <p:nvPr/>
        </p:nvCxnSpPr>
        <p:spPr>
          <a:xfrm flipV="1">
            <a:off x="555269" y="11429692"/>
            <a:ext cx="18975431" cy="2"/>
          </a:xfrm>
          <a:prstGeom prst="line">
            <a:avLst/>
          </a:prstGeom>
          <a:ln w="38100">
            <a:solidFill>
              <a:schemeClr val="bg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feld 80"/>
          <p:cNvSpPr txBox="1"/>
          <p:nvPr/>
        </p:nvSpPr>
        <p:spPr bwMode="auto">
          <a:xfrm>
            <a:off x="9141164" y="11532629"/>
            <a:ext cx="1479572" cy="253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 eaLnBrk="0" hangingPunct="0">
              <a:buClr>
                <a:schemeClr val="tx2"/>
              </a:buClr>
              <a:buSzPct val="100000"/>
            </a:pPr>
            <a:r>
              <a:rPr lang="de-CH" sz="1649" b="1">
                <a:solidFill>
                  <a:schemeClr val="bg1"/>
                </a:solidFill>
              </a:rPr>
              <a:t>Arbeitsbereich</a:t>
            </a:r>
          </a:p>
        </p:txBody>
      </p:sp>
      <p:cxnSp>
        <p:nvCxnSpPr>
          <p:cNvPr id="82" name="Gerade Verbindung 39"/>
          <p:cNvCxnSpPr>
            <a:cxnSpLocks/>
          </p:cNvCxnSpPr>
          <p:nvPr/>
        </p:nvCxnSpPr>
        <p:spPr>
          <a:xfrm flipH="1">
            <a:off x="555686" y="11321754"/>
            <a:ext cx="2" cy="3562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39"/>
          <p:cNvCxnSpPr>
            <a:cxnSpLocks/>
          </p:cNvCxnSpPr>
          <p:nvPr/>
        </p:nvCxnSpPr>
        <p:spPr>
          <a:xfrm>
            <a:off x="19546399" y="11316527"/>
            <a:ext cx="0" cy="3562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feld 49"/>
          <p:cNvSpPr txBox="1"/>
          <p:nvPr/>
        </p:nvSpPr>
        <p:spPr bwMode="auto">
          <a:xfrm rot="16200000">
            <a:off x="-1228646" y="6192831"/>
            <a:ext cx="1599458" cy="253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59363" tIns="0" rIns="59363" bIns="0" rtlCol="0">
            <a:spAutoFit/>
          </a:bodyPr>
          <a:lstStyle/>
          <a:p>
            <a:pPr eaLnBrk="0" hangingPunct="0">
              <a:buClr>
                <a:schemeClr val="tx2"/>
              </a:buClr>
              <a:buSzPct val="100000"/>
            </a:pPr>
            <a:r>
              <a:rPr lang="de-CH" sz="1649" b="1">
                <a:solidFill>
                  <a:schemeClr val="bg1"/>
                </a:solidFill>
              </a:rPr>
              <a:t>Arbeitsbereich</a:t>
            </a:r>
            <a:endParaRPr lang="de-CH" sz="1237" b="1">
              <a:solidFill>
                <a:schemeClr val="bg1"/>
              </a:solidFill>
            </a:endParaRPr>
          </a:p>
        </p:txBody>
      </p:sp>
      <p:sp>
        <p:nvSpPr>
          <p:cNvPr id="5" name="Gleichschenkliges Dreieck 4"/>
          <p:cNvSpPr/>
          <p:nvPr/>
        </p:nvSpPr>
        <p:spPr bwMode="auto">
          <a:xfrm rot="16200000">
            <a:off x="20118558" y="6192068"/>
            <a:ext cx="185260" cy="219209"/>
          </a:xfrm>
          <a:prstGeom prst="triangle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59363" tIns="59363" rIns="59363" bIns="59363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CH" sz="2309" err="1"/>
          </a:p>
        </p:txBody>
      </p:sp>
      <p:sp>
        <p:nvSpPr>
          <p:cNvPr id="59" name="Gleichschenkliges Dreieck 58"/>
          <p:cNvSpPr/>
          <p:nvPr/>
        </p:nvSpPr>
        <p:spPr bwMode="auto">
          <a:xfrm rot="5400000">
            <a:off x="-203897" y="6196676"/>
            <a:ext cx="185260" cy="219209"/>
          </a:xfrm>
          <a:prstGeom prst="triangle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59363" tIns="59363" rIns="59363" bIns="59363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CH" sz="2309" err="1"/>
          </a:p>
        </p:txBody>
      </p:sp>
      <p:sp>
        <p:nvSpPr>
          <p:cNvPr id="60" name="Gleichschenkliges Dreieck 59"/>
          <p:cNvSpPr/>
          <p:nvPr/>
        </p:nvSpPr>
        <p:spPr bwMode="auto">
          <a:xfrm>
            <a:off x="9934775" y="11314831"/>
            <a:ext cx="227997" cy="178120"/>
          </a:xfrm>
          <a:prstGeom prst="triangle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59363" tIns="59363" rIns="59363" bIns="59363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CH" sz="2309" err="1"/>
          </a:p>
        </p:txBody>
      </p:sp>
      <p:pic>
        <p:nvPicPr>
          <p:cNvPr id="8" name="MigrosClassification_P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683053" y="192335"/>
            <a:ext cx="737995" cy="599663"/>
          </a:xfrm>
          <a:prstGeom prst="rect">
            <a:avLst/>
          </a:prstGeom>
        </p:spPr>
      </p:pic>
      <p:sp>
        <p:nvSpPr>
          <p:cNvPr id="21" name="Textplatzhalter 10"/>
          <p:cNvSpPr>
            <a:spLocks noGrp="1"/>
          </p:cNvSpPr>
          <p:nvPr>
            <p:ph type="body" idx="1"/>
          </p:nvPr>
        </p:nvSpPr>
        <p:spPr>
          <a:xfrm>
            <a:off x="554150" y="1852727"/>
            <a:ext cx="18991503" cy="7463648"/>
          </a:xfrm>
          <a:prstGeom prst="rect">
            <a:avLst/>
          </a:prstGeom>
        </p:spPr>
        <p:txBody>
          <a:bodyPr vert="horz" lIns="0" tIns="36000" rIns="0" bIns="3600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6025464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</p:sldLayoutIdLst>
  <p:hf hdr="0" ft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3958" b="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5442"/>
        </a:lnSpc>
        <a:spcBef>
          <a:spcPct val="0"/>
        </a:spcBef>
        <a:spcAft>
          <a:spcPct val="0"/>
        </a:spcAft>
        <a:defRPr sz="4947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ts val="5442"/>
        </a:lnSpc>
        <a:spcBef>
          <a:spcPct val="0"/>
        </a:spcBef>
        <a:spcAft>
          <a:spcPct val="0"/>
        </a:spcAft>
        <a:defRPr sz="4947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ts val="5442"/>
        </a:lnSpc>
        <a:spcBef>
          <a:spcPct val="0"/>
        </a:spcBef>
        <a:spcAft>
          <a:spcPct val="0"/>
        </a:spcAft>
        <a:defRPr sz="4947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ts val="5442"/>
        </a:lnSpc>
        <a:spcBef>
          <a:spcPct val="0"/>
        </a:spcBef>
        <a:spcAft>
          <a:spcPct val="0"/>
        </a:spcAft>
        <a:defRPr sz="4947">
          <a:solidFill>
            <a:schemeClr val="tx2"/>
          </a:solidFill>
          <a:latin typeface="Arial" charset="0"/>
        </a:defRPr>
      </a:lvl5pPr>
      <a:lvl6pPr marL="753923" algn="l" rtl="0" eaLnBrk="1" fontAlgn="base" hangingPunct="1">
        <a:lnSpc>
          <a:spcPts val="5442"/>
        </a:lnSpc>
        <a:spcBef>
          <a:spcPct val="0"/>
        </a:spcBef>
        <a:spcAft>
          <a:spcPct val="0"/>
        </a:spcAft>
        <a:defRPr sz="4947">
          <a:solidFill>
            <a:schemeClr val="tx2"/>
          </a:solidFill>
          <a:latin typeface="Arial" charset="0"/>
        </a:defRPr>
      </a:lvl6pPr>
      <a:lvl7pPr marL="1507846" algn="l" rtl="0" eaLnBrk="1" fontAlgn="base" hangingPunct="1">
        <a:lnSpc>
          <a:spcPts val="5442"/>
        </a:lnSpc>
        <a:spcBef>
          <a:spcPct val="0"/>
        </a:spcBef>
        <a:spcAft>
          <a:spcPct val="0"/>
        </a:spcAft>
        <a:defRPr sz="4947">
          <a:solidFill>
            <a:schemeClr val="tx2"/>
          </a:solidFill>
          <a:latin typeface="Arial" charset="0"/>
        </a:defRPr>
      </a:lvl7pPr>
      <a:lvl8pPr marL="2261768" algn="l" rtl="0" eaLnBrk="1" fontAlgn="base" hangingPunct="1">
        <a:lnSpc>
          <a:spcPts val="5442"/>
        </a:lnSpc>
        <a:spcBef>
          <a:spcPct val="0"/>
        </a:spcBef>
        <a:spcAft>
          <a:spcPct val="0"/>
        </a:spcAft>
        <a:defRPr sz="4947">
          <a:solidFill>
            <a:schemeClr val="tx2"/>
          </a:solidFill>
          <a:latin typeface="Arial" charset="0"/>
        </a:defRPr>
      </a:lvl8pPr>
      <a:lvl9pPr marL="3015691" algn="l" rtl="0" eaLnBrk="1" fontAlgn="base" hangingPunct="1">
        <a:lnSpc>
          <a:spcPts val="5442"/>
        </a:lnSpc>
        <a:spcBef>
          <a:spcPct val="0"/>
        </a:spcBef>
        <a:spcAft>
          <a:spcPct val="0"/>
        </a:spcAft>
        <a:defRPr sz="4947">
          <a:solidFill>
            <a:schemeClr val="tx2"/>
          </a:solidFill>
          <a:latin typeface="Arial" charset="0"/>
        </a:defRPr>
      </a:lvl9pPr>
    </p:titleStyle>
    <p:bodyStyle>
      <a:lvl1pPr marL="298428" indent="-298428" algn="l" rtl="0" eaLnBrk="1" fontAlgn="base" hangingPunct="1">
        <a:lnSpc>
          <a:spcPct val="100000"/>
        </a:lnSpc>
        <a:spcBef>
          <a:spcPct val="0"/>
        </a:spcBef>
        <a:spcAft>
          <a:spcPts val="989"/>
        </a:spcAft>
        <a:buClr>
          <a:schemeClr val="accent1"/>
        </a:buClr>
        <a:buFont typeface="Arial" panose="020B0604020202020204" pitchFamily="34" charset="0"/>
        <a:buChar char="•"/>
        <a:defRPr sz="2638">
          <a:solidFill>
            <a:schemeClr val="tx1"/>
          </a:solidFill>
          <a:latin typeface="+mn-lt"/>
          <a:ea typeface="+mn-ea"/>
          <a:cs typeface="+mn-cs"/>
        </a:defRPr>
      </a:lvl1pPr>
      <a:lvl2pPr marL="293192" indent="-293192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chemeClr val="accent1"/>
        </a:buClr>
        <a:buChar char="•"/>
        <a:defRPr sz="2638">
          <a:solidFill>
            <a:schemeClr val="tx1"/>
          </a:solidFill>
          <a:latin typeface="+mn-lt"/>
        </a:defRPr>
      </a:lvl2pPr>
      <a:lvl3pPr marL="591620" indent="-298428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chemeClr val="accent1"/>
        </a:buClr>
        <a:buFont typeface="Arial Unicode MS" panose="020B0604020202020204" pitchFamily="34" charset="-128"/>
        <a:buChar char="ｰ"/>
        <a:defRPr sz="2638">
          <a:solidFill>
            <a:schemeClr val="tx1"/>
          </a:solidFill>
          <a:latin typeface="+mn-lt"/>
        </a:defRPr>
      </a:lvl3pPr>
      <a:lvl4pPr marL="884812" indent="-293192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chemeClr val="accent1"/>
        </a:buClr>
        <a:buFont typeface="Arial Unicode MS" panose="020B0604020202020204" pitchFamily="34" charset="-128"/>
        <a:buChar char="-"/>
        <a:defRPr sz="2638">
          <a:solidFill>
            <a:schemeClr val="tx1"/>
          </a:solidFill>
          <a:latin typeface="+mn-lt"/>
        </a:defRPr>
      </a:lvl4pPr>
      <a:lvl5pPr marL="1183240" indent="-298428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-"/>
        <a:defRPr lang="de-CH" sz="2638" dirty="0">
          <a:solidFill>
            <a:schemeClr val="tx1"/>
          </a:solidFill>
          <a:latin typeface="+mn-lt"/>
        </a:defRPr>
      </a:lvl5pPr>
      <a:lvl6pPr marL="4410973" indent="-332460" algn="l" rtl="0" eaLnBrk="1" fontAlgn="base" hangingPunct="1">
        <a:lnSpc>
          <a:spcPts val="4452"/>
        </a:lnSpc>
        <a:spcBef>
          <a:spcPct val="0"/>
        </a:spcBef>
        <a:spcAft>
          <a:spcPct val="40000"/>
        </a:spcAft>
        <a:buClr>
          <a:schemeClr val="tx2"/>
        </a:buClr>
        <a:buFont typeface="Times" pitchFamily="18" charset="0"/>
        <a:buChar char="»"/>
        <a:defRPr sz="3958">
          <a:solidFill>
            <a:schemeClr val="tx1"/>
          </a:solidFill>
          <a:latin typeface="+mn-lt"/>
        </a:defRPr>
      </a:lvl6pPr>
      <a:lvl7pPr marL="5164896" indent="-332460" algn="l" rtl="0" eaLnBrk="1" fontAlgn="base" hangingPunct="1">
        <a:lnSpc>
          <a:spcPts val="4452"/>
        </a:lnSpc>
        <a:spcBef>
          <a:spcPct val="0"/>
        </a:spcBef>
        <a:spcAft>
          <a:spcPct val="40000"/>
        </a:spcAft>
        <a:buClr>
          <a:schemeClr val="tx2"/>
        </a:buClr>
        <a:buFont typeface="Times" pitchFamily="18" charset="0"/>
        <a:buChar char="»"/>
        <a:defRPr sz="3958">
          <a:solidFill>
            <a:schemeClr val="tx1"/>
          </a:solidFill>
          <a:latin typeface="+mn-lt"/>
        </a:defRPr>
      </a:lvl7pPr>
      <a:lvl8pPr marL="5918818" indent="-332460" algn="l" rtl="0" eaLnBrk="1" fontAlgn="base" hangingPunct="1">
        <a:lnSpc>
          <a:spcPts val="4452"/>
        </a:lnSpc>
        <a:spcBef>
          <a:spcPct val="0"/>
        </a:spcBef>
        <a:spcAft>
          <a:spcPct val="40000"/>
        </a:spcAft>
        <a:buClr>
          <a:schemeClr val="tx2"/>
        </a:buClr>
        <a:buFont typeface="Times" pitchFamily="18" charset="0"/>
        <a:buChar char="»"/>
        <a:defRPr sz="3958">
          <a:solidFill>
            <a:schemeClr val="tx1"/>
          </a:solidFill>
          <a:latin typeface="+mn-lt"/>
        </a:defRPr>
      </a:lvl8pPr>
      <a:lvl9pPr marL="6672741" indent="-332460" algn="l" rtl="0" eaLnBrk="1" fontAlgn="base" hangingPunct="1">
        <a:lnSpc>
          <a:spcPts val="4452"/>
        </a:lnSpc>
        <a:spcBef>
          <a:spcPct val="0"/>
        </a:spcBef>
        <a:spcAft>
          <a:spcPct val="40000"/>
        </a:spcAft>
        <a:buClr>
          <a:schemeClr val="tx2"/>
        </a:buClr>
        <a:buFont typeface="Times" pitchFamily="18" charset="0"/>
        <a:buChar char="»"/>
        <a:defRPr sz="3958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1pPr>
      <a:lvl2pPr marL="753923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2pPr>
      <a:lvl3pPr marL="1507846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3pPr>
      <a:lvl4pPr marL="2261768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4pPr>
      <a:lvl5pPr marL="3015691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5pPr>
      <a:lvl6pPr marL="3769614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523537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27746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031382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94945083"/>
              </p:ext>
            </p:extLst>
          </p:nvPr>
        </p:nvGraphicFramePr>
        <p:xfrm>
          <a:off x="3230" y="2628"/>
          <a:ext cx="3220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9" imgW="270" imgH="270" progId="TCLayout.ActiveDocument.1">
                  <p:embed/>
                </p:oleObj>
              </mc:Choice>
              <mc:Fallback>
                <p:oleObj name="Diapositive think-cell" r:id="rId9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230" y="2628"/>
                        <a:ext cx="3220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61772" cy="261791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>
              <a:buClr>
                <a:schemeClr val="accent1"/>
              </a:buClr>
              <a:buFontTx/>
              <a:buNone/>
            </a:pPr>
            <a:endParaRPr lang="fr-FR" sz="3958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4480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55273" y="427440"/>
            <a:ext cx="18991503" cy="713967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fr-FR" err="1"/>
              <a:t>Titelmasterformat</a:t>
            </a:r>
            <a:r>
              <a:rPr lang="fr-FR"/>
              <a:t> </a:t>
            </a:r>
            <a:r>
              <a:rPr lang="fr-FR" err="1"/>
              <a:t>durch</a:t>
            </a:r>
            <a:r>
              <a:rPr lang="fr-FR"/>
              <a:t> </a:t>
            </a:r>
            <a:r>
              <a:rPr lang="fr-FR" err="1"/>
              <a:t>Klicken</a:t>
            </a:r>
            <a:r>
              <a:rPr lang="fr-FR"/>
              <a:t> </a:t>
            </a:r>
            <a:r>
              <a:rPr lang="fr-FR" err="1"/>
              <a:t>bearbeiten</a:t>
            </a:r>
            <a:endParaRPr lang="fr-FR"/>
          </a:p>
        </p:txBody>
      </p:sp>
      <p:sp>
        <p:nvSpPr>
          <p:cNvPr id="68" name="Fußzeilenplatzhalter 24"/>
          <p:cNvSpPr txBox="1">
            <a:spLocks/>
          </p:cNvSpPr>
          <p:nvPr/>
        </p:nvSpPr>
        <p:spPr>
          <a:xfrm>
            <a:off x="2375580" y="10950866"/>
            <a:ext cx="12584401" cy="20300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898989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15078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319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cxnSp>
        <p:nvCxnSpPr>
          <p:cNvPr id="46" name="Gerade Verbindung 45"/>
          <p:cNvCxnSpPr/>
          <p:nvPr/>
        </p:nvCxnSpPr>
        <p:spPr>
          <a:xfrm>
            <a:off x="-132421" y="1852973"/>
            <a:ext cx="0" cy="8906618"/>
          </a:xfrm>
          <a:prstGeom prst="line">
            <a:avLst/>
          </a:prstGeom>
          <a:ln w="38100">
            <a:solidFill>
              <a:schemeClr val="bg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39"/>
          <p:cNvCxnSpPr>
            <a:cxnSpLocks/>
          </p:cNvCxnSpPr>
          <p:nvPr/>
        </p:nvCxnSpPr>
        <p:spPr>
          <a:xfrm flipH="1">
            <a:off x="-231892" y="1852722"/>
            <a:ext cx="219184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 Verbindung 39"/>
          <p:cNvCxnSpPr>
            <a:cxnSpLocks/>
          </p:cNvCxnSpPr>
          <p:nvPr/>
        </p:nvCxnSpPr>
        <p:spPr>
          <a:xfrm flipH="1">
            <a:off x="-231892" y="10759590"/>
            <a:ext cx="219184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31"/>
          <p:cNvCxnSpPr/>
          <p:nvPr/>
        </p:nvCxnSpPr>
        <p:spPr>
          <a:xfrm rot="5400000" flipH="1">
            <a:off x="476306" y="11399264"/>
            <a:ext cx="148417" cy="0"/>
          </a:xfrm>
          <a:prstGeom prst="line">
            <a:avLst/>
          </a:prstGeom>
          <a:ln w="31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Gerade Verbindung 79"/>
          <p:cNvCxnSpPr/>
          <p:nvPr/>
        </p:nvCxnSpPr>
        <p:spPr>
          <a:xfrm flipV="1">
            <a:off x="555269" y="11429692"/>
            <a:ext cx="18975431" cy="2"/>
          </a:xfrm>
          <a:prstGeom prst="line">
            <a:avLst/>
          </a:prstGeom>
          <a:ln w="38100">
            <a:solidFill>
              <a:schemeClr val="bg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feld 80"/>
          <p:cNvSpPr txBox="1"/>
          <p:nvPr/>
        </p:nvSpPr>
        <p:spPr bwMode="auto">
          <a:xfrm>
            <a:off x="9141164" y="11532629"/>
            <a:ext cx="1479572" cy="253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 rtl="0" eaLnBrk="0" hangingPunct="0">
              <a:buClr>
                <a:schemeClr val="tx2"/>
              </a:buClr>
              <a:buSzPct val="100000"/>
            </a:pPr>
            <a:r>
              <a:rPr lang="fr-FR" sz="1649" b="1" err="1">
                <a:solidFill>
                  <a:schemeClr val="bg1"/>
                </a:solidFill>
              </a:rPr>
              <a:t>Arbeitsbereich</a:t>
            </a:r>
            <a:endParaRPr lang="fr-FR" sz="1649" b="1">
              <a:solidFill>
                <a:schemeClr val="bg1"/>
              </a:solidFill>
            </a:endParaRPr>
          </a:p>
        </p:txBody>
      </p:sp>
      <p:cxnSp>
        <p:nvCxnSpPr>
          <p:cNvPr id="82" name="Gerade Verbindung 39"/>
          <p:cNvCxnSpPr>
            <a:cxnSpLocks/>
          </p:cNvCxnSpPr>
          <p:nvPr/>
        </p:nvCxnSpPr>
        <p:spPr>
          <a:xfrm flipH="1">
            <a:off x="555686" y="11321754"/>
            <a:ext cx="2" cy="3562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39"/>
          <p:cNvCxnSpPr>
            <a:cxnSpLocks/>
          </p:cNvCxnSpPr>
          <p:nvPr/>
        </p:nvCxnSpPr>
        <p:spPr>
          <a:xfrm>
            <a:off x="19546399" y="11316527"/>
            <a:ext cx="0" cy="3562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feld 49"/>
          <p:cNvSpPr txBox="1"/>
          <p:nvPr/>
        </p:nvSpPr>
        <p:spPr bwMode="auto">
          <a:xfrm rot="16200000">
            <a:off x="-1228646" y="6192831"/>
            <a:ext cx="1599458" cy="253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59363" tIns="0" rIns="59363" bIns="0" rtlCol="0">
            <a:spAutoFit/>
          </a:bodyPr>
          <a:lstStyle/>
          <a:p>
            <a:pPr rtl="0" eaLnBrk="0" hangingPunct="0">
              <a:buClr>
                <a:schemeClr val="tx2"/>
              </a:buClr>
              <a:buSzPct val="100000"/>
            </a:pPr>
            <a:r>
              <a:rPr lang="fr-FR" sz="1649" b="1" err="1">
                <a:solidFill>
                  <a:schemeClr val="bg1"/>
                </a:solidFill>
              </a:rPr>
              <a:t>Arbeitsbereich</a:t>
            </a:r>
            <a:endParaRPr lang="fr-FR" sz="1237" b="1">
              <a:solidFill>
                <a:schemeClr val="bg1"/>
              </a:solidFill>
            </a:endParaRPr>
          </a:p>
        </p:txBody>
      </p:sp>
      <p:sp>
        <p:nvSpPr>
          <p:cNvPr id="5" name="Gleichschenkliges Dreieck 4"/>
          <p:cNvSpPr/>
          <p:nvPr/>
        </p:nvSpPr>
        <p:spPr bwMode="auto">
          <a:xfrm rot="16200000">
            <a:off x="20118558" y="6192068"/>
            <a:ext cx="185260" cy="219209"/>
          </a:xfrm>
          <a:prstGeom prst="triangle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59363" tIns="59363" rIns="59363" bIns="59363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rtl="0" eaLnBrk="0" hangingPunct="0"/>
            <a:endParaRPr lang="fr-FR" sz="2309"/>
          </a:p>
        </p:txBody>
      </p:sp>
      <p:sp>
        <p:nvSpPr>
          <p:cNvPr id="59" name="Gleichschenkliges Dreieck 58"/>
          <p:cNvSpPr/>
          <p:nvPr/>
        </p:nvSpPr>
        <p:spPr bwMode="auto">
          <a:xfrm rot="5400000">
            <a:off x="-203897" y="6196676"/>
            <a:ext cx="185260" cy="219209"/>
          </a:xfrm>
          <a:prstGeom prst="triangle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59363" tIns="59363" rIns="59363" bIns="59363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rtl="0" eaLnBrk="0" hangingPunct="0"/>
            <a:endParaRPr lang="fr-FR" sz="2309"/>
          </a:p>
        </p:txBody>
      </p:sp>
      <p:sp>
        <p:nvSpPr>
          <p:cNvPr id="60" name="Gleichschenkliges Dreieck 59"/>
          <p:cNvSpPr/>
          <p:nvPr/>
        </p:nvSpPr>
        <p:spPr bwMode="auto">
          <a:xfrm>
            <a:off x="9934775" y="11314831"/>
            <a:ext cx="227997" cy="178120"/>
          </a:xfrm>
          <a:prstGeom prst="triangle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59363" tIns="59363" rIns="59363" bIns="59363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rtl="0" eaLnBrk="0" hangingPunct="0"/>
            <a:endParaRPr lang="fr-FR" sz="2309"/>
          </a:p>
        </p:txBody>
      </p:sp>
      <p:pic>
        <p:nvPicPr>
          <p:cNvPr id="8" name="MigrosClassification_P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9683053" y="192335"/>
            <a:ext cx="737995" cy="599663"/>
          </a:xfrm>
          <a:prstGeom prst="rect">
            <a:avLst/>
          </a:prstGeom>
        </p:spPr>
      </p:pic>
      <p:sp>
        <p:nvSpPr>
          <p:cNvPr id="21" name="Textplatzhalter 10"/>
          <p:cNvSpPr>
            <a:spLocks noGrp="1"/>
          </p:cNvSpPr>
          <p:nvPr>
            <p:ph type="body" idx="1"/>
          </p:nvPr>
        </p:nvSpPr>
        <p:spPr>
          <a:xfrm>
            <a:off x="554150" y="1852727"/>
            <a:ext cx="18991503" cy="7463648"/>
          </a:xfrm>
          <a:prstGeom prst="rect">
            <a:avLst/>
          </a:prstGeom>
        </p:spPr>
        <p:txBody>
          <a:bodyPr vert="horz" lIns="0" tIns="36000" rIns="0" bIns="36000" rtlCol="0">
            <a:noAutofit/>
          </a:bodyPr>
          <a:lstStyle/>
          <a:p>
            <a:pPr lvl="0"/>
            <a:r>
              <a:rPr lang="fr-FR" err="1"/>
              <a:t>Textmasterformat</a:t>
            </a:r>
            <a:r>
              <a:rPr lang="fr-FR"/>
              <a:t> </a:t>
            </a:r>
            <a:r>
              <a:rPr lang="fr-FR" err="1"/>
              <a:t>bearbeiten</a:t>
            </a:r>
            <a:endParaRPr lang="fr-FR"/>
          </a:p>
          <a:p>
            <a:pPr lvl="2"/>
            <a:r>
              <a:rPr lang="fr-FR" err="1"/>
              <a:t>Zwei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  <a:p>
            <a:pPr lvl="3"/>
            <a:r>
              <a:rPr lang="fr-FR" err="1"/>
              <a:t>Drit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  <a:p>
            <a:pPr lvl="4"/>
            <a:r>
              <a:rPr lang="fr-FR" err="1"/>
              <a:t>Vier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659469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6" r:id="rId5"/>
  </p:sldLayoutIdLst>
  <p:hf hdr="0" ft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3958" b="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5442"/>
        </a:lnSpc>
        <a:spcBef>
          <a:spcPct val="0"/>
        </a:spcBef>
        <a:spcAft>
          <a:spcPct val="0"/>
        </a:spcAft>
        <a:defRPr sz="4947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ts val="5442"/>
        </a:lnSpc>
        <a:spcBef>
          <a:spcPct val="0"/>
        </a:spcBef>
        <a:spcAft>
          <a:spcPct val="0"/>
        </a:spcAft>
        <a:defRPr sz="4947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ts val="5442"/>
        </a:lnSpc>
        <a:spcBef>
          <a:spcPct val="0"/>
        </a:spcBef>
        <a:spcAft>
          <a:spcPct val="0"/>
        </a:spcAft>
        <a:defRPr sz="4947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ts val="5442"/>
        </a:lnSpc>
        <a:spcBef>
          <a:spcPct val="0"/>
        </a:spcBef>
        <a:spcAft>
          <a:spcPct val="0"/>
        </a:spcAft>
        <a:defRPr sz="4947">
          <a:solidFill>
            <a:schemeClr val="tx2"/>
          </a:solidFill>
          <a:latin typeface="Arial" charset="0"/>
        </a:defRPr>
      </a:lvl5pPr>
      <a:lvl6pPr marL="753923" algn="l" rtl="0" eaLnBrk="1" fontAlgn="base" hangingPunct="1">
        <a:lnSpc>
          <a:spcPts val="5442"/>
        </a:lnSpc>
        <a:spcBef>
          <a:spcPct val="0"/>
        </a:spcBef>
        <a:spcAft>
          <a:spcPct val="0"/>
        </a:spcAft>
        <a:defRPr sz="4947">
          <a:solidFill>
            <a:schemeClr val="tx2"/>
          </a:solidFill>
          <a:latin typeface="Arial" charset="0"/>
        </a:defRPr>
      </a:lvl6pPr>
      <a:lvl7pPr marL="1507846" algn="l" rtl="0" eaLnBrk="1" fontAlgn="base" hangingPunct="1">
        <a:lnSpc>
          <a:spcPts val="5442"/>
        </a:lnSpc>
        <a:spcBef>
          <a:spcPct val="0"/>
        </a:spcBef>
        <a:spcAft>
          <a:spcPct val="0"/>
        </a:spcAft>
        <a:defRPr sz="4947">
          <a:solidFill>
            <a:schemeClr val="tx2"/>
          </a:solidFill>
          <a:latin typeface="Arial" charset="0"/>
        </a:defRPr>
      </a:lvl7pPr>
      <a:lvl8pPr marL="2261768" algn="l" rtl="0" eaLnBrk="1" fontAlgn="base" hangingPunct="1">
        <a:lnSpc>
          <a:spcPts val="5442"/>
        </a:lnSpc>
        <a:spcBef>
          <a:spcPct val="0"/>
        </a:spcBef>
        <a:spcAft>
          <a:spcPct val="0"/>
        </a:spcAft>
        <a:defRPr sz="4947">
          <a:solidFill>
            <a:schemeClr val="tx2"/>
          </a:solidFill>
          <a:latin typeface="Arial" charset="0"/>
        </a:defRPr>
      </a:lvl8pPr>
      <a:lvl9pPr marL="3015691" algn="l" rtl="0" eaLnBrk="1" fontAlgn="base" hangingPunct="1">
        <a:lnSpc>
          <a:spcPts val="5442"/>
        </a:lnSpc>
        <a:spcBef>
          <a:spcPct val="0"/>
        </a:spcBef>
        <a:spcAft>
          <a:spcPct val="0"/>
        </a:spcAft>
        <a:defRPr sz="4947">
          <a:solidFill>
            <a:schemeClr val="tx2"/>
          </a:solidFill>
          <a:latin typeface="Arial" charset="0"/>
        </a:defRPr>
      </a:lvl9pPr>
    </p:titleStyle>
    <p:bodyStyle>
      <a:lvl1pPr marL="298428" indent="-298428" algn="l" rtl="0" eaLnBrk="1" fontAlgn="base" hangingPunct="1">
        <a:lnSpc>
          <a:spcPct val="100000"/>
        </a:lnSpc>
        <a:spcBef>
          <a:spcPct val="0"/>
        </a:spcBef>
        <a:spcAft>
          <a:spcPts val="989"/>
        </a:spcAft>
        <a:buClr>
          <a:schemeClr val="accent1"/>
        </a:buClr>
        <a:buFont typeface="Arial" panose="020B0604020202020204" pitchFamily="34" charset="0"/>
        <a:buChar char="•"/>
        <a:defRPr sz="2638">
          <a:solidFill>
            <a:schemeClr val="tx1"/>
          </a:solidFill>
          <a:latin typeface="+mn-lt"/>
          <a:ea typeface="+mn-ea"/>
          <a:cs typeface="+mn-cs"/>
        </a:defRPr>
      </a:lvl1pPr>
      <a:lvl2pPr marL="293192" indent="-293192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chemeClr val="accent1"/>
        </a:buClr>
        <a:buChar char="•"/>
        <a:defRPr sz="2638">
          <a:solidFill>
            <a:schemeClr val="tx1"/>
          </a:solidFill>
          <a:latin typeface="+mn-lt"/>
        </a:defRPr>
      </a:lvl2pPr>
      <a:lvl3pPr marL="591620" indent="-298428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chemeClr val="accent1"/>
        </a:buClr>
        <a:buFont typeface="Arial Unicode MS" panose="020B0604020202020204" pitchFamily="34" charset="-128"/>
        <a:buChar char="ｰ"/>
        <a:defRPr sz="2638">
          <a:solidFill>
            <a:schemeClr val="tx1"/>
          </a:solidFill>
          <a:latin typeface="+mn-lt"/>
        </a:defRPr>
      </a:lvl3pPr>
      <a:lvl4pPr marL="884812" indent="-293192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chemeClr val="accent1"/>
        </a:buClr>
        <a:buFont typeface="Arial Unicode MS" panose="020B0604020202020204" pitchFamily="34" charset="-128"/>
        <a:buChar char="-"/>
        <a:defRPr sz="2638">
          <a:solidFill>
            <a:schemeClr val="tx1"/>
          </a:solidFill>
          <a:latin typeface="+mn-lt"/>
        </a:defRPr>
      </a:lvl4pPr>
      <a:lvl5pPr marL="1183240" indent="-298428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-"/>
        <a:defRPr lang="de-CH" sz="2638" dirty="0">
          <a:solidFill>
            <a:schemeClr val="tx1"/>
          </a:solidFill>
          <a:latin typeface="+mn-lt"/>
        </a:defRPr>
      </a:lvl5pPr>
      <a:lvl6pPr marL="4410973" indent="-332460" algn="l" rtl="0" eaLnBrk="1" fontAlgn="base" hangingPunct="1">
        <a:lnSpc>
          <a:spcPts val="4452"/>
        </a:lnSpc>
        <a:spcBef>
          <a:spcPct val="0"/>
        </a:spcBef>
        <a:spcAft>
          <a:spcPct val="40000"/>
        </a:spcAft>
        <a:buClr>
          <a:schemeClr val="tx2"/>
        </a:buClr>
        <a:buFont typeface="Times" pitchFamily="18" charset="0"/>
        <a:buChar char="»"/>
        <a:defRPr sz="3958">
          <a:solidFill>
            <a:schemeClr val="tx1"/>
          </a:solidFill>
          <a:latin typeface="+mn-lt"/>
        </a:defRPr>
      </a:lvl6pPr>
      <a:lvl7pPr marL="5164896" indent="-332460" algn="l" rtl="0" eaLnBrk="1" fontAlgn="base" hangingPunct="1">
        <a:lnSpc>
          <a:spcPts val="4452"/>
        </a:lnSpc>
        <a:spcBef>
          <a:spcPct val="0"/>
        </a:spcBef>
        <a:spcAft>
          <a:spcPct val="40000"/>
        </a:spcAft>
        <a:buClr>
          <a:schemeClr val="tx2"/>
        </a:buClr>
        <a:buFont typeface="Times" pitchFamily="18" charset="0"/>
        <a:buChar char="»"/>
        <a:defRPr sz="3958">
          <a:solidFill>
            <a:schemeClr val="tx1"/>
          </a:solidFill>
          <a:latin typeface="+mn-lt"/>
        </a:defRPr>
      </a:lvl7pPr>
      <a:lvl8pPr marL="5918818" indent="-332460" algn="l" rtl="0" eaLnBrk="1" fontAlgn="base" hangingPunct="1">
        <a:lnSpc>
          <a:spcPts val="4452"/>
        </a:lnSpc>
        <a:spcBef>
          <a:spcPct val="0"/>
        </a:spcBef>
        <a:spcAft>
          <a:spcPct val="40000"/>
        </a:spcAft>
        <a:buClr>
          <a:schemeClr val="tx2"/>
        </a:buClr>
        <a:buFont typeface="Times" pitchFamily="18" charset="0"/>
        <a:buChar char="»"/>
        <a:defRPr sz="3958">
          <a:solidFill>
            <a:schemeClr val="tx1"/>
          </a:solidFill>
          <a:latin typeface="+mn-lt"/>
        </a:defRPr>
      </a:lvl8pPr>
      <a:lvl9pPr marL="6672741" indent="-332460" algn="l" rtl="0" eaLnBrk="1" fontAlgn="base" hangingPunct="1">
        <a:lnSpc>
          <a:spcPts val="4452"/>
        </a:lnSpc>
        <a:spcBef>
          <a:spcPct val="0"/>
        </a:spcBef>
        <a:spcAft>
          <a:spcPct val="40000"/>
        </a:spcAft>
        <a:buClr>
          <a:schemeClr val="tx2"/>
        </a:buClr>
        <a:buFont typeface="Times" pitchFamily="18" charset="0"/>
        <a:buChar char="»"/>
        <a:defRPr sz="3958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1pPr>
      <a:lvl2pPr marL="753923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2pPr>
      <a:lvl3pPr marL="1507846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3pPr>
      <a:lvl4pPr marL="2261768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4pPr>
      <a:lvl5pPr marL="3015691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5pPr>
      <a:lvl6pPr marL="3769614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523537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27746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031382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561925604"/>
              </p:ext>
            </p:extLst>
          </p:nvPr>
        </p:nvGraphicFramePr>
        <p:xfrm>
          <a:off x="3230" y="2628"/>
          <a:ext cx="3220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8" imgW="270" imgH="270" progId="TCLayout.ActiveDocument.1">
                  <p:embed/>
                </p:oleObj>
              </mc:Choice>
              <mc:Fallback>
                <p:oleObj name="Diapositive think-cell" r:id="rId8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3230" y="2628"/>
                        <a:ext cx="3220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61772" cy="261791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>
              <a:buClr>
                <a:schemeClr val="accent1"/>
              </a:buClr>
              <a:buFontTx/>
              <a:buNone/>
            </a:pPr>
            <a:endParaRPr lang="fr-FR" sz="3958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4480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55273" y="427440"/>
            <a:ext cx="18991503" cy="713967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fr-FR" err="1"/>
              <a:t>Titelmasterformat</a:t>
            </a:r>
            <a:r>
              <a:rPr lang="fr-FR"/>
              <a:t> </a:t>
            </a:r>
            <a:r>
              <a:rPr lang="fr-FR" err="1"/>
              <a:t>durch</a:t>
            </a:r>
            <a:r>
              <a:rPr lang="fr-FR"/>
              <a:t> </a:t>
            </a:r>
            <a:r>
              <a:rPr lang="fr-FR" err="1"/>
              <a:t>Klicken</a:t>
            </a:r>
            <a:r>
              <a:rPr lang="fr-FR"/>
              <a:t> </a:t>
            </a:r>
            <a:r>
              <a:rPr lang="fr-FR" err="1"/>
              <a:t>bearbeiten</a:t>
            </a:r>
            <a:endParaRPr lang="fr-FR"/>
          </a:p>
        </p:txBody>
      </p:sp>
      <p:sp>
        <p:nvSpPr>
          <p:cNvPr id="68" name="Fußzeilenplatzhalter 24"/>
          <p:cNvSpPr txBox="1">
            <a:spLocks/>
          </p:cNvSpPr>
          <p:nvPr/>
        </p:nvSpPr>
        <p:spPr>
          <a:xfrm>
            <a:off x="2375580" y="10950866"/>
            <a:ext cx="12584401" cy="20300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898989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15078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319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cxnSp>
        <p:nvCxnSpPr>
          <p:cNvPr id="46" name="Gerade Verbindung 45"/>
          <p:cNvCxnSpPr/>
          <p:nvPr/>
        </p:nvCxnSpPr>
        <p:spPr>
          <a:xfrm>
            <a:off x="-132421" y="1852973"/>
            <a:ext cx="0" cy="8906618"/>
          </a:xfrm>
          <a:prstGeom prst="line">
            <a:avLst/>
          </a:prstGeom>
          <a:ln w="38100">
            <a:solidFill>
              <a:schemeClr val="bg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39"/>
          <p:cNvCxnSpPr>
            <a:cxnSpLocks/>
          </p:cNvCxnSpPr>
          <p:nvPr/>
        </p:nvCxnSpPr>
        <p:spPr>
          <a:xfrm flipH="1">
            <a:off x="-231892" y="1852722"/>
            <a:ext cx="219184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 Verbindung 39"/>
          <p:cNvCxnSpPr>
            <a:cxnSpLocks/>
          </p:cNvCxnSpPr>
          <p:nvPr/>
        </p:nvCxnSpPr>
        <p:spPr>
          <a:xfrm flipH="1">
            <a:off x="-231892" y="10759590"/>
            <a:ext cx="219184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31"/>
          <p:cNvCxnSpPr/>
          <p:nvPr/>
        </p:nvCxnSpPr>
        <p:spPr>
          <a:xfrm rot="5400000" flipH="1">
            <a:off x="476306" y="11399264"/>
            <a:ext cx="148417" cy="0"/>
          </a:xfrm>
          <a:prstGeom prst="line">
            <a:avLst/>
          </a:prstGeom>
          <a:ln w="31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Gerade Verbindung 79"/>
          <p:cNvCxnSpPr/>
          <p:nvPr/>
        </p:nvCxnSpPr>
        <p:spPr>
          <a:xfrm flipV="1">
            <a:off x="555269" y="11429692"/>
            <a:ext cx="18975431" cy="2"/>
          </a:xfrm>
          <a:prstGeom prst="line">
            <a:avLst/>
          </a:prstGeom>
          <a:ln w="38100">
            <a:solidFill>
              <a:schemeClr val="bg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feld 80"/>
          <p:cNvSpPr txBox="1"/>
          <p:nvPr/>
        </p:nvSpPr>
        <p:spPr bwMode="auto">
          <a:xfrm>
            <a:off x="9141164" y="11532629"/>
            <a:ext cx="1479572" cy="253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 rtl="0" eaLnBrk="0" hangingPunct="0">
              <a:buClr>
                <a:schemeClr val="tx2"/>
              </a:buClr>
              <a:buSzPct val="100000"/>
            </a:pPr>
            <a:r>
              <a:rPr lang="fr-FR" sz="1649" b="1" err="1">
                <a:solidFill>
                  <a:schemeClr val="bg1"/>
                </a:solidFill>
              </a:rPr>
              <a:t>Arbeitsbereich</a:t>
            </a:r>
            <a:endParaRPr lang="fr-FR" sz="1649" b="1">
              <a:solidFill>
                <a:schemeClr val="bg1"/>
              </a:solidFill>
            </a:endParaRPr>
          </a:p>
        </p:txBody>
      </p:sp>
      <p:cxnSp>
        <p:nvCxnSpPr>
          <p:cNvPr id="82" name="Gerade Verbindung 39"/>
          <p:cNvCxnSpPr>
            <a:cxnSpLocks/>
          </p:cNvCxnSpPr>
          <p:nvPr/>
        </p:nvCxnSpPr>
        <p:spPr>
          <a:xfrm flipH="1">
            <a:off x="555686" y="11321754"/>
            <a:ext cx="2" cy="3562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39"/>
          <p:cNvCxnSpPr>
            <a:cxnSpLocks/>
          </p:cNvCxnSpPr>
          <p:nvPr/>
        </p:nvCxnSpPr>
        <p:spPr>
          <a:xfrm>
            <a:off x="19546399" y="11316527"/>
            <a:ext cx="0" cy="3562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feld 49"/>
          <p:cNvSpPr txBox="1"/>
          <p:nvPr/>
        </p:nvSpPr>
        <p:spPr bwMode="auto">
          <a:xfrm rot="16200000">
            <a:off x="-1228646" y="6192831"/>
            <a:ext cx="1599458" cy="253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59363" tIns="0" rIns="59363" bIns="0" rtlCol="0">
            <a:spAutoFit/>
          </a:bodyPr>
          <a:lstStyle/>
          <a:p>
            <a:pPr rtl="0" eaLnBrk="0" hangingPunct="0">
              <a:buClr>
                <a:schemeClr val="tx2"/>
              </a:buClr>
              <a:buSzPct val="100000"/>
            </a:pPr>
            <a:r>
              <a:rPr lang="fr-FR" sz="1649" b="1" err="1">
                <a:solidFill>
                  <a:schemeClr val="bg1"/>
                </a:solidFill>
              </a:rPr>
              <a:t>Arbeitsbereich</a:t>
            </a:r>
            <a:endParaRPr lang="fr-FR" sz="1237" b="1">
              <a:solidFill>
                <a:schemeClr val="bg1"/>
              </a:solidFill>
            </a:endParaRPr>
          </a:p>
        </p:txBody>
      </p:sp>
      <p:sp>
        <p:nvSpPr>
          <p:cNvPr id="5" name="Gleichschenkliges Dreieck 4"/>
          <p:cNvSpPr/>
          <p:nvPr/>
        </p:nvSpPr>
        <p:spPr bwMode="auto">
          <a:xfrm rot="16200000">
            <a:off x="20118558" y="6192068"/>
            <a:ext cx="185260" cy="219209"/>
          </a:xfrm>
          <a:prstGeom prst="triangle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59363" tIns="59363" rIns="59363" bIns="59363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rtl="0" eaLnBrk="0" hangingPunct="0"/>
            <a:endParaRPr lang="fr-FR" sz="2309"/>
          </a:p>
        </p:txBody>
      </p:sp>
      <p:sp>
        <p:nvSpPr>
          <p:cNvPr id="59" name="Gleichschenkliges Dreieck 58"/>
          <p:cNvSpPr/>
          <p:nvPr/>
        </p:nvSpPr>
        <p:spPr bwMode="auto">
          <a:xfrm rot="5400000">
            <a:off x="-203897" y="6196676"/>
            <a:ext cx="185260" cy="219209"/>
          </a:xfrm>
          <a:prstGeom prst="triangle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59363" tIns="59363" rIns="59363" bIns="59363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rtl="0" eaLnBrk="0" hangingPunct="0"/>
            <a:endParaRPr lang="fr-FR" sz="2309"/>
          </a:p>
        </p:txBody>
      </p:sp>
      <p:sp>
        <p:nvSpPr>
          <p:cNvPr id="60" name="Gleichschenkliges Dreieck 59"/>
          <p:cNvSpPr/>
          <p:nvPr/>
        </p:nvSpPr>
        <p:spPr bwMode="auto">
          <a:xfrm>
            <a:off x="9934775" y="11314831"/>
            <a:ext cx="227997" cy="178120"/>
          </a:xfrm>
          <a:prstGeom prst="triangle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59363" tIns="59363" rIns="59363" bIns="59363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rtl="0" eaLnBrk="0" hangingPunct="0"/>
            <a:endParaRPr lang="fr-FR" sz="2309"/>
          </a:p>
        </p:txBody>
      </p:sp>
      <p:pic>
        <p:nvPicPr>
          <p:cNvPr id="8" name="MigrosClassification_P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9683053" y="192335"/>
            <a:ext cx="737995" cy="599663"/>
          </a:xfrm>
          <a:prstGeom prst="rect">
            <a:avLst/>
          </a:prstGeom>
        </p:spPr>
      </p:pic>
      <p:sp>
        <p:nvSpPr>
          <p:cNvPr id="21" name="Textplatzhalter 10"/>
          <p:cNvSpPr>
            <a:spLocks noGrp="1"/>
          </p:cNvSpPr>
          <p:nvPr>
            <p:ph type="body" idx="1"/>
          </p:nvPr>
        </p:nvSpPr>
        <p:spPr>
          <a:xfrm>
            <a:off x="554150" y="1852727"/>
            <a:ext cx="18991503" cy="7463648"/>
          </a:xfrm>
          <a:prstGeom prst="rect">
            <a:avLst/>
          </a:prstGeom>
        </p:spPr>
        <p:txBody>
          <a:bodyPr vert="horz" lIns="0" tIns="36000" rIns="0" bIns="36000" rtlCol="0">
            <a:noAutofit/>
          </a:bodyPr>
          <a:lstStyle/>
          <a:p>
            <a:pPr lvl="0"/>
            <a:r>
              <a:rPr lang="fr-FR" err="1"/>
              <a:t>Textmasterformat</a:t>
            </a:r>
            <a:r>
              <a:rPr lang="fr-FR"/>
              <a:t> </a:t>
            </a:r>
            <a:r>
              <a:rPr lang="fr-FR" err="1"/>
              <a:t>bearbeiten</a:t>
            </a:r>
            <a:endParaRPr lang="fr-FR"/>
          </a:p>
          <a:p>
            <a:pPr lvl="2"/>
            <a:r>
              <a:rPr lang="fr-FR" err="1"/>
              <a:t>Zwei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  <a:p>
            <a:pPr lvl="3"/>
            <a:r>
              <a:rPr lang="fr-FR" err="1"/>
              <a:t>Drit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  <a:p>
            <a:pPr lvl="4"/>
            <a:r>
              <a:rPr lang="fr-FR" err="1"/>
              <a:t>Vier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898521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1" r:id="rId3"/>
    <p:sldLayoutId id="2147483742" r:id="rId4"/>
  </p:sldLayoutIdLst>
  <p:hf hdr="0" ft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3958" b="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5442"/>
        </a:lnSpc>
        <a:spcBef>
          <a:spcPct val="0"/>
        </a:spcBef>
        <a:spcAft>
          <a:spcPct val="0"/>
        </a:spcAft>
        <a:defRPr sz="4947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ts val="5442"/>
        </a:lnSpc>
        <a:spcBef>
          <a:spcPct val="0"/>
        </a:spcBef>
        <a:spcAft>
          <a:spcPct val="0"/>
        </a:spcAft>
        <a:defRPr sz="4947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ts val="5442"/>
        </a:lnSpc>
        <a:spcBef>
          <a:spcPct val="0"/>
        </a:spcBef>
        <a:spcAft>
          <a:spcPct val="0"/>
        </a:spcAft>
        <a:defRPr sz="4947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ts val="5442"/>
        </a:lnSpc>
        <a:spcBef>
          <a:spcPct val="0"/>
        </a:spcBef>
        <a:spcAft>
          <a:spcPct val="0"/>
        </a:spcAft>
        <a:defRPr sz="4947">
          <a:solidFill>
            <a:schemeClr val="tx2"/>
          </a:solidFill>
          <a:latin typeface="Arial" charset="0"/>
        </a:defRPr>
      </a:lvl5pPr>
      <a:lvl6pPr marL="753923" algn="l" rtl="0" eaLnBrk="1" fontAlgn="base" hangingPunct="1">
        <a:lnSpc>
          <a:spcPts val="5442"/>
        </a:lnSpc>
        <a:spcBef>
          <a:spcPct val="0"/>
        </a:spcBef>
        <a:spcAft>
          <a:spcPct val="0"/>
        </a:spcAft>
        <a:defRPr sz="4947">
          <a:solidFill>
            <a:schemeClr val="tx2"/>
          </a:solidFill>
          <a:latin typeface="Arial" charset="0"/>
        </a:defRPr>
      </a:lvl6pPr>
      <a:lvl7pPr marL="1507846" algn="l" rtl="0" eaLnBrk="1" fontAlgn="base" hangingPunct="1">
        <a:lnSpc>
          <a:spcPts val="5442"/>
        </a:lnSpc>
        <a:spcBef>
          <a:spcPct val="0"/>
        </a:spcBef>
        <a:spcAft>
          <a:spcPct val="0"/>
        </a:spcAft>
        <a:defRPr sz="4947">
          <a:solidFill>
            <a:schemeClr val="tx2"/>
          </a:solidFill>
          <a:latin typeface="Arial" charset="0"/>
        </a:defRPr>
      </a:lvl7pPr>
      <a:lvl8pPr marL="2261768" algn="l" rtl="0" eaLnBrk="1" fontAlgn="base" hangingPunct="1">
        <a:lnSpc>
          <a:spcPts val="5442"/>
        </a:lnSpc>
        <a:spcBef>
          <a:spcPct val="0"/>
        </a:spcBef>
        <a:spcAft>
          <a:spcPct val="0"/>
        </a:spcAft>
        <a:defRPr sz="4947">
          <a:solidFill>
            <a:schemeClr val="tx2"/>
          </a:solidFill>
          <a:latin typeface="Arial" charset="0"/>
        </a:defRPr>
      </a:lvl8pPr>
      <a:lvl9pPr marL="3015691" algn="l" rtl="0" eaLnBrk="1" fontAlgn="base" hangingPunct="1">
        <a:lnSpc>
          <a:spcPts val="5442"/>
        </a:lnSpc>
        <a:spcBef>
          <a:spcPct val="0"/>
        </a:spcBef>
        <a:spcAft>
          <a:spcPct val="0"/>
        </a:spcAft>
        <a:defRPr sz="4947">
          <a:solidFill>
            <a:schemeClr val="tx2"/>
          </a:solidFill>
          <a:latin typeface="Arial" charset="0"/>
        </a:defRPr>
      </a:lvl9pPr>
    </p:titleStyle>
    <p:bodyStyle>
      <a:lvl1pPr marL="298428" indent="-298428" algn="l" rtl="0" eaLnBrk="1" fontAlgn="base" hangingPunct="1">
        <a:lnSpc>
          <a:spcPct val="100000"/>
        </a:lnSpc>
        <a:spcBef>
          <a:spcPct val="0"/>
        </a:spcBef>
        <a:spcAft>
          <a:spcPts val="989"/>
        </a:spcAft>
        <a:buClr>
          <a:schemeClr val="accent1"/>
        </a:buClr>
        <a:buFont typeface="Arial" panose="020B0604020202020204" pitchFamily="34" charset="0"/>
        <a:buChar char="•"/>
        <a:defRPr sz="2638">
          <a:solidFill>
            <a:schemeClr val="tx1"/>
          </a:solidFill>
          <a:latin typeface="+mn-lt"/>
          <a:ea typeface="+mn-ea"/>
          <a:cs typeface="+mn-cs"/>
        </a:defRPr>
      </a:lvl1pPr>
      <a:lvl2pPr marL="293192" indent="-293192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chemeClr val="accent1"/>
        </a:buClr>
        <a:buChar char="•"/>
        <a:defRPr sz="2638">
          <a:solidFill>
            <a:schemeClr val="tx1"/>
          </a:solidFill>
          <a:latin typeface="+mn-lt"/>
        </a:defRPr>
      </a:lvl2pPr>
      <a:lvl3pPr marL="591620" indent="-298428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chemeClr val="accent1"/>
        </a:buClr>
        <a:buFont typeface="Arial Unicode MS" panose="020B0604020202020204" pitchFamily="34" charset="-128"/>
        <a:buChar char="ｰ"/>
        <a:defRPr sz="2638">
          <a:solidFill>
            <a:schemeClr val="tx1"/>
          </a:solidFill>
          <a:latin typeface="+mn-lt"/>
        </a:defRPr>
      </a:lvl3pPr>
      <a:lvl4pPr marL="884812" indent="-293192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chemeClr val="accent1"/>
        </a:buClr>
        <a:buFont typeface="Arial Unicode MS" panose="020B0604020202020204" pitchFamily="34" charset="-128"/>
        <a:buChar char="-"/>
        <a:defRPr sz="2638">
          <a:solidFill>
            <a:schemeClr val="tx1"/>
          </a:solidFill>
          <a:latin typeface="+mn-lt"/>
        </a:defRPr>
      </a:lvl4pPr>
      <a:lvl5pPr marL="1183240" indent="-298428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-"/>
        <a:defRPr lang="de-CH" sz="2638" dirty="0">
          <a:solidFill>
            <a:schemeClr val="tx1"/>
          </a:solidFill>
          <a:latin typeface="+mn-lt"/>
        </a:defRPr>
      </a:lvl5pPr>
      <a:lvl6pPr marL="4410973" indent="-332460" algn="l" rtl="0" eaLnBrk="1" fontAlgn="base" hangingPunct="1">
        <a:lnSpc>
          <a:spcPts val="4452"/>
        </a:lnSpc>
        <a:spcBef>
          <a:spcPct val="0"/>
        </a:spcBef>
        <a:spcAft>
          <a:spcPct val="40000"/>
        </a:spcAft>
        <a:buClr>
          <a:schemeClr val="tx2"/>
        </a:buClr>
        <a:buFont typeface="Times" pitchFamily="18" charset="0"/>
        <a:buChar char="»"/>
        <a:defRPr sz="3958">
          <a:solidFill>
            <a:schemeClr val="tx1"/>
          </a:solidFill>
          <a:latin typeface="+mn-lt"/>
        </a:defRPr>
      </a:lvl6pPr>
      <a:lvl7pPr marL="5164896" indent="-332460" algn="l" rtl="0" eaLnBrk="1" fontAlgn="base" hangingPunct="1">
        <a:lnSpc>
          <a:spcPts val="4452"/>
        </a:lnSpc>
        <a:spcBef>
          <a:spcPct val="0"/>
        </a:spcBef>
        <a:spcAft>
          <a:spcPct val="40000"/>
        </a:spcAft>
        <a:buClr>
          <a:schemeClr val="tx2"/>
        </a:buClr>
        <a:buFont typeface="Times" pitchFamily="18" charset="0"/>
        <a:buChar char="»"/>
        <a:defRPr sz="3958">
          <a:solidFill>
            <a:schemeClr val="tx1"/>
          </a:solidFill>
          <a:latin typeface="+mn-lt"/>
        </a:defRPr>
      </a:lvl7pPr>
      <a:lvl8pPr marL="5918818" indent="-332460" algn="l" rtl="0" eaLnBrk="1" fontAlgn="base" hangingPunct="1">
        <a:lnSpc>
          <a:spcPts val="4452"/>
        </a:lnSpc>
        <a:spcBef>
          <a:spcPct val="0"/>
        </a:spcBef>
        <a:spcAft>
          <a:spcPct val="40000"/>
        </a:spcAft>
        <a:buClr>
          <a:schemeClr val="tx2"/>
        </a:buClr>
        <a:buFont typeface="Times" pitchFamily="18" charset="0"/>
        <a:buChar char="»"/>
        <a:defRPr sz="3958">
          <a:solidFill>
            <a:schemeClr val="tx1"/>
          </a:solidFill>
          <a:latin typeface="+mn-lt"/>
        </a:defRPr>
      </a:lvl8pPr>
      <a:lvl9pPr marL="6672741" indent="-332460" algn="l" rtl="0" eaLnBrk="1" fontAlgn="base" hangingPunct="1">
        <a:lnSpc>
          <a:spcPts val="4452"/>
        </a:lnSpc>
        <a:spcBef>
          <a:spcPct val="0"/>
        </a:spcBef>
        <a:spcAft>
          <a:spcPct val="40000"/>
        </a:spcAft>
        <a:buClr>
          <a:schemeClr val="tx2"/>
        </a:buClr>
        <a:buFont typeface="Times" pitchFamily="18" charset="0"/>
        <a:buChar char="»"/>
        <a:defRPr sz="3958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1pPr>
      <a:lvl2pPr marL="753923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2pPr>
      <a:lvl3pPr marL="1507846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3pPr>
      <a:lvl4pPr marL="2261768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4pPr>
      <a:lvl5pPr marL="3015691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5pPr>
      <a:lvl6pPr marL="3769614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523537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27746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031382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853370155"/>
              </p:ext>
            </p:extLst>
          </p:nvPr>
        </p:nvGraphicFramePr>
        <p:xfrm>
          <a:off x="3230" y="2628"/>
          <a:ext cx="3220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8" imgW="270" imgH="270" progId="TCLayout.ActiveDocument.1">
                  <p:embed/>
                </p:oleObj>
              </mc:Choice>
              <mc:Fallback>
                <p:oleObj name="Diapositive think-cell" r:id="rId8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3230" y="2628"/>
                        <a:ext cx="3220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61772" cy="261791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>
              <a:buClr>
                <a:schemeClr val="accent1"/>
              </a:buClr>
              <a:buFontTx/>
              <a:buNone/>
            </a:pPr>
            <a:endParaRPr lang="fr-FR" sz="3958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4480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55273" y="427440"/>
            <a:ext cx="18991503" cy="713967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fr-FR" err="1"/>
              <a:t>Titelmasterformat</a:t>
            </a:r>
            <a:r>
              <a:rPr lang="fr-FR"/>
              <a:t> </a:t>
            </a:r>
            <a:r>
              <a:rPr lang="fr-FR" err="1"/>
              <a:t>durch</a:t>
            </a:r>
            <a:r>
              <a:rPr lang="fr-FR"/>
              <a:t> </a:t>
            </a:r>
            <a:r>
              <a:rPr lang="fr-FR" err="1"/>
              <a:t>Klicken</a:t>
            </a:r>
            <a:r>
              <a:rPr lang="fr-FR"/>
              <a:t> </a:t>
            </a:r>
            <a:r>
              <a:rPr lang="fr-FR" err="1"/>
              <a:t>bearbeiten</a:t>
            </a:r>
            <a:endParaRPr lang="fr-FR"/>
          </a:p>
        </p:txBody>
      </p:sp>
      <p:sp>
        <p:nvSpPr>
          <p:cNvPr id="68" name="Fußzeilenplatzhalter 24"/>
          <p:cNvSpPr txBox="1">
            <a:spLocks/>
          </p:cNvSpPr>
          <p:nvPr/>
        </p:nvSpPr>
        <p:spPr>
          <a:xfrm>
            <a:off x="2375580" y="10950866"/>
            <a:ext cx="12584401" cy="20300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898989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15078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319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cxnSp>
        <p:nvCxnSpPr>
          <p:cNvPr id="46" name="Gerade Verbindung 45"/>
          <p:cNvCxnSpPr/>
          <p:nvPr/>
        </p:nvCxnSpPr>
        <p:spPr>
          <a:xfrm>
            <a:off x="-132421" y="1852973"/>
            <a:ext cx="0" cy="8906618"/>
          </a:xfrm>
          <a:prstGeom prst="line">
            <a:avLst/>
          </a:prstGeom>
          <a:ln w="38100">
            <a:solidFill>
              <a:schemeClr val="bg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39"/>
          <p:cNvCxnSpPr>
            <a:cxnSpLocks/>
          </p:cNvCxnSpPr>
          <p:nvPr/>
        </p:nvCxnSpPr>
        <p:spPr>
          <a:xfrm flipH="1">
            <a:off x="-231892" y="1852722"/>
            <a:ext cx="219184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 Verbindung 39"/>
          <p:cNvCxnSpPr>
            <a:cxnSpLocks/>
          </p:cNvCxnSpPr>
          <p:nvPr/>
        </p:nvCxnSpPr>
        <p:spPr>
          <a:xfrm flipH="1">
            <a:off x="-231892" y="10759590"/>
            <a:ext cx="219184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31"/>
          <p:cNvCxnSpPr/>
          <p:nvPr/>
        </p:nvCxnSpPr>
        <p:spPr>
          <a:xfrm rot="5400000" flipH="1">
            <a:off x="476306" y="11399264"/>
            <a:ext cx="148417" cy="0"/>
          </a:xfrm>
          <a:prstGeom prst="line">
            <a:avLst/>
          </a:prstGeom>
          <a:ln w="31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Gerade Verbindung 79"/>
          <p:cNvCxnSpPr/>
          <p:nvPr/>
        </p:nvCxnSpPr>
        <p:spPr>
          <a:xfrm flipV="1">
            <a:off x="555269" y="11429692"/>
            <a:ext cx="18975431" cy="2"/>
          </a:xfrm>
          <a:prstGeom prst="line">
            <a:avLst/>
          </a:prstGeom>
          <a:ln w="38100">
            <a:solidFill>
              <a:schemeClr val="bg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feld 80"/>
          <p:cNvSpPr txBox="1"/>
          <p:nvPr/>
        </p:nvSpPr>
        <p:spPr bwMode="auto">
          <a:xfrm>
            <a:off x="9141164" y="11532629"/>
            <a:ext cx="1479572" cy="253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 rtl="0" eaLnBrk="0" hangingPunct="0">
              <a:buClr>
                <a:schemeClr val="tx2"/>
              </a:buClr>
              <a:buSzPct val="100000"/>
            </a:pPr>
            <a:r>
              <a:rPr lang="fr-FR" sz="1649" b="1" err="1">
                <a:solidFill>
                  <a:schemeClr val="bg1"/>
                </a:solidFill>
              </a:rPr>
              <a:t>Arbeitsbereich</a:t>
            </a:r>
            <a:endParaRPr lang="fr-FR" sz="1649" b="1">
              <a:solidFill>
                <a:schemeClr val="bg1"/>
              </a:solidFill>
            </a:endParaRPr>
          </a:p>
        </p:txBody>
      </p:sp>
      <p:cxnSp>
        <p:nvCxnSpPr>
          <p:cNvPr id="82" name="Gerade Verbindung 39"/>
          <p:cNvCxnSpPr>
            <a:cxnSpLocks/>
          </p:cNvCxnSpPr>
          <p:nvPr/>
        </p:nvCxnSpPr>
        <p:spPr>
          <a:xfrm flipH="1">
            <a:off x="555686" y="11321754"/>
            <a:ext cx="2" cy="3562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39"/>
          <p:cNvCxnSpPr>
            <a:cxnSpLocks/>
          </p:cNvCxnSpPr>
          <p:nvPr/>
        </p:nvCxnSpPr>
        <p:spPr>
          <a:xfrm>
            <a:off x="19546399" y="11316527"/>
            <a:ext cx="0" cy="3562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feld 49"/>
          <p:cNvSpPr txBox="1"/>
          <p:nvPr/>
        </p:nvSpPr>
        <p:spPr bwMode="auto">
          <a:xfrm rot="16200000">
            <a:off x="-1228646" y="6192831"/>
            <a:ext cx="1599458" cy="253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59363" tIns="0" rIns="59363" bIns="0" rtlCol="0">
            <a:spAutoFit/>
          </a:bodyPr>
          <a:lstStyle/>
          <a:p>
            <a:pPr rtl="0" eaLnBrk="0" hangingPunct="0">
              <a:buClr>
                <a:schemeClr val="tx2"/>
              </a:buClr>
              <a:buSzPct val="100000"/>
            </a:pPr>
            <a:r>
              <a:rPr lang="fr-FR" sz="1649" b="1" err="1">
                <a:solidFill>
                  <a:schemeClr val="bg1"/>
                </a:solidFill>
              </a:rPr>
              <a:t>Arbeitsbereich</a:t>
            </a:r>
            <a:endParaRPr lang="fr-FR" sz="1237" b="1">
              <a:solidFill>
                <a:schemeClr val="bg1"/>
              </a:solidFill>
            </a:endParaRPr>
          </a:p>
        </p:txBody>
      </p:sp>
      <p:sp>
        <p:nvSpPr>
          <p:cNvPr id="5" name="Gleichschenkliges Dreieck 4"/>
          <p:cNvSpPr/>
          <p:nvPr/>
        </p:nvSpPr>
        <p:spPr bwMode="auto">
          <a:xfrm rot="16200000">
            <a:off x="20118558" y="6192068"/>
            <a:ext cx="185260" cy="219209"/>
          </a:xfrm>
          <a:prstGeom prst="triangle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59363" tIns="59363" rIns="59363" bIns="59363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rtl="0" eaLnBrk="0" hangingPunct="0"/>
            <a:endParaRPr lang="fr-FR" sz="2309"/>
          </a:p>
        </p:txBody>
      </p:sp>
      <p:sp>
        <p:nvSpPr>
          <p:cNvPr id="59" name="Gleichschenkliges Dreieck 58"/>
          <p:cNvSpPr/>
          <p:nvPr/>
        </p:nvSpPr>
        <p:spPr bwMode="auto">
          <a:xfrm rot="5400000">
            <a:off x="-203897" y="6196676"/>
            <a:ext cx="185260" cy="219209"/>
          </a:xfrm>
          <a:prstGeom prst="triangle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59363" tIns="59363" rIns="59363" bIns="59363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rtl="0" eaLnBrk="0" hangingPunct="0"/>
            <a:endParaRPr lang="fr-FR" sz="2309"/>
          </a:p>
        </p:txBody>
      </p:sp>
      <p:sp>
        <p:nvSpPr>
          <p:cNvPr id="60" name="Gleichschenkliges Dreieck 59"/>
          <p:cNvSpPr/>
          <p:nvPr/>
        </p:nvSpPr>
        <p:spPr bwMode="auto">
          <a:xfrm>
            <a:off x="9934775" y="11314831"/>
            <a:ext cx="227997" cy="178120"/>
          </a:xfrm>
          <a:prstGeom prst="triangle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59363" tIns="59363" rIns="59363" bIns="59363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rtl="0" eaLnBrk="0" hangingPunct="0"/>
            <a:endParaRPr lang="fr-FR" sz="2309"/>
          </a:p>
        </p:txBody>
      </p:sp>
      <p:pic>
        <p:nvPicPr>
          <p:cNvPr id="8" name="MigrosClassification_P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9683053" y="192335"/>
            <a:ext cx="737995" cy="599663"/>
          </a:xfrm>
          <a:prstGeom prst="rect">
            <a:avLst/>
          </a:prstGeom>
        </p:spPr>
      </p:pic>
      <p:sp>
        <p:nvSpPr>
          <p:cNvPr id="21" name="Textplatzhalter 10"/>
          <p:cNvSpPr>
            <a:spLocks noGrp="1"/>
          </p:cNvSpPr>
          <p:nvPr>
            <p:ph type="body" idx="1"/>
          </p:nvPr>
        </p:nvSpPr>
        <p:spPr>
          <a:xfrm>
            <a:off x="554150" y="1852727"/>
            <a:ext cx="18991503" cy="7463648"/>
          </a:xfrm>
          <a:prstGeom prst="rect">
            <a:avLst/>
          </a:prstGeom>
        </p:spPr>
        <p:txBody>
          <a:bodyPr vert="horz" lIns="0" tIns="36000" rIns="0" bIns="36000" rtlCol="0">
            <a:noAutofit/>
          </a:bodyPr>
          <a:lstStyle/>
          <a:p>
            <a:pPr lvl="0"/>
            <a:r>
              <a:rPr lang="fr-FR" err="1"/>
              <a:t>Textmasterformat</a:t>
            </a:r>
            <a:r>
              <a:rPr lang="fr-FR"/>
              <a:t> </a:t>
            </a:r>
            <a:r>
              <a:rPr lang="fr-FR" err="1"/>
              <a:t>bearbeiten</a:t>
            </a:r>
            <a:endParaRPr lang="fr-FR"/>
          </a:p>
          <a:p>
            <a:pPr lvl="2"/>
            <a:r>
              <a:rPr lang="fr-FR" err="1"/>
              <a:t>Zwei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  <a:p>
            <a:pPr lvl="3"/>
            <a:r>
              <a:rPr lang="fr-FR" err="1"/>
              <a:t>Drit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  <a:p>
            <a:pPr lvl="4"/>
            <a:r>
              <a:rPr lang="fr-FR" err="1"/>
              <a:t>Vier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553934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7" r:id="rId3"/>
    <p:sldLayoutId id="2147483748" r:id="rId4"/>
  </p:sldLayoutIdLst>
  <p:hf hdr="0" ft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3958" b="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5442"/>
        </a:lnSpc>
        <a:spcBef>
          <a:spcPct val="0"/>
        </a:spcBef>
        <a:spcAft>
          <a:spcPct val="0"/>
        </a:spcAft>
        <a:defRPr sz="4947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ts val="5442"/>
        </a:lnSpc>
        <a:spcBef>
          <a:spcPct val="0"/>
        </a:spcBef>
        <a:spcAft>
          <a:spcPct val="0"/>
        </a:spcAft>
        <a:defRPr sz="4947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ts val="5442"/>
        </a:lnSpc>
        <a:spcBef>
          <a:spcPct val="0"/>
        </a:spcBef>
        <a:spcAft>
          <a:spcPct val="0"/>
        </a:spcAft>
        <a:defRPr sz="4947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ts val="5442"/>
        </a:lnSpc>
        <a:spcBef>
          <a:spcPct val="0"/>
        </a:spcBef>
        <a:spcAft>
          <a:spcPct val="0"/>
        </a:spcAft>
        <a:defRPr sz="4947">
          <a:solidFill>
            <a:schemeClr val="tx2"/>
          </a:solidFill>
          <a:latin typeface="Arial" charset="0"/>
        </a:defRPr>
      </a:lvl5pPr>
      <a:lvl6pPr marL="753923" algn="l" rtl="0" eaLnBrk="1" fontAlgn="base" hangingPunct="1">
        <a:lnSpc>
          <a:spcPts val="5442"/>
        </a:lnSpc>
        <a:spcBef>
          <a:spcPct val="0"/>
        </a:spcBef>
        <a:spcAft>
          <a:spcPct val="0"/>
        </a:spcAft>
        <a:defRPr sz="4947">
          <a:solidFill>
            <a:schemeClr val="tx2"/>
          </a:solidFill>
          <a:latin typeface="Arial" charset="0"/>
        </a:defRPr>
      </a:lvl6pPr>
      <a:lvl7pPr marL="1507846" algn="l" rtl="0" eaLnBrk="1" fontAlgn="base" hangingPunct="1">
        <a:lnSpc>
          <a:spcPts val="5442"/>
        </a:lnSpc>
        <a:spcBef>
          <a:spcPct val="0"/>
        </a:spcBef>
        <a:spcAft>
          <a:spcPct val="0"/>
        </a:spcAft>
        <a:defRPr sz="4947">
          <a:solidFill>
            <a:schemeClr val="tx2"/>
          </a:solidFill>
          <a:latin typeface="Arial" charset="0"/>
        </a:defRPr>
      </a:lvl7pPr>
      <a:lvl8pPr marL="2261768" algn="l" rtl="0" eaLnBrk="1" fontAlgn="base" hangingPunct="1">
        <a:lnSpc>
          <a:spcPts val="5442"/>
        </a:lnSpc>
        <a:spcBef>
          <a:spcPct val="0"/>
        </a:spcBef>
        <a:spcAft>
          <a:spcPct val="0"/>
        </a:spcAft>
        <a:defRPr sz="4947">
          <a:solidFill>
            <a:schemeClr val="tx2"/>
          </a:solidFill>
          <a:latin typeface="Arial" charset="0"/>
        </a:defRPr>
      </a:lvl8pPr>
      <a:lvl9pPr marL="3015691" algn="l" rtl="0" eaLnBrk="1" fontAlgn="base" hangingPunct="1">
        <a:lnSpc>
          <a:spcPts val="5442"/>
        </a:lnSpc>
        <a:spcBef>
          <a:spcPct val="0"/>
        </a:spcBef>
        <a:spcAft>
          <a:spcPct val="0"/>
        </a:spcAft>
        <a:defRPr sz="4947">
          <a:solidFill>
            <a:schemeClr val="tx2"/>
          </a:solidFill>
          <a:latin typeface="Arial" charset="0"/>
        </a:defRPr>
      </a:lvl9pPr>
    </p:titleStyle>
    <p:bodyStyle>
      <a:lvl1pPr marL="298428" indent="-298428" algn="l" rtl="0" eaLnBrk="1" fontAlgn="base" hangingPunct="1">
        <a:lnSpc>
          <a:spcPct val="100000"/>
        </a:lnSpc>
        <a:spcBef>
          <a:spcPct val="0"/>
        </a:spcBef>
        <a:spcAft>
          <a:spcPts val="989"/>
        </a:spcAft>
        <a:buClr>
          <a:schemeClr val="accent1"/>
        </a:buClr>
        <a:buFont typeface="Arial" panose="020B0604020202020204" pitchFamily="34" charset="0"/>
        <a:buChar char="•"/>
        <a:defRPr sz="2638">
          <a:solidFill>
            <a:schemeClr val="tx1"/>
          </a:solidFill>
          <a:latin typeface="+mn-lt"/>
          <a:ea typeface="+mn-ea"/>
          <a:cs typeface="+mn-cs"/>
        </a:defRPr>
      </a:lvl1pPr>
      <a:lvl2pPr marL="293192" indent="-293192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chemeClr val="accent1"/>
        </a:buClr>
        <a:buChar char="•"/>
        <a:defRPr sz="2638">
          <a:solidFill>
            <a:schemeClr val="tx1"/>
          </a:solidFill>
          <a:latin typeface="+mn-lt"/>
        </a:defRPr>
      </a:lvl2pPr>
      <a:lvl3pPr marL="591620" indent="-298428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chemeClr val="accent1"/>
        </a:buClr>
        <a:buFont typeface="Arial Unicode MS" panose="020B0604020202020204" pitchFamily="34" charset="-128"/>
        <a:buChar char="ｰ"/>
        <a:defRPr sz="2638">
          <a:solidFill>
            <a:schemeClr val="tx1"/>
          </a:solidFill>
          <a:latin typeface="+mn-lt"/>
        </a:defRPr>
      </a:lvl3pPr>
      <a:lvl4pPr marL="884812" indent="-293192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chemeClr val="accent1"/>
        </a:buClr>
        <a:buFont typeface="Arial Unicode MS" panose="020B0604020202020204" pitchFamily="34" charset="-128"/>
        <a:buChar char="-"/>
        <a:defRPr sz="2638">
          <a:solidFill>
            <a:schemeClr val="tx1"/>
          </a:solidFill>
          <a:latin typeface="+mn-lt"/>
        </a:defRPr>
      </a:lvl4pPr>
      <a:lvl5pPr marL="1183240" indent="-298428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-"/>
        <a:defRPr lang="de-CH" sz="2638" dirty="0">
          <a:solidFill>
            <a:schemeClr val="tx1"/>
          </a:solidFill>
          <a:latin typeface="+mn-lt"/>
        </a:defRPr>
      </a:lvl5pPr>
      <a:lvl6pPr marL="4410973" indent="-332460" algn="l" rtl="0" eaLnBrk="1" fontAlgn="base" hangingPunct="1">
        <a:lnSpc>
          <a:spcPts val="4452"/>
        </a:lnSpc>
        <a:spcBef>
          <a:spcPct val="0"/>
        </a:spcBef>
        <a:spcAft>
          <a:spcPct val="40000"/>
        </a:spcAft>
        <a:buClr>
          <a:schemeClr val="tx2"/>
        </a:buClr>
        <a:buFont typeface="Times" pitchFamily="18" charset="0"/>
        <a:buChar char="»"/>
        <a:defRPr sz="3958">
          <a:solidFill>
            <a:schemeClr val="tx1"/>
          </a:solidFill>
          <a:latin typeface="+mn-lt"/>
        </a:defRPr>
      </a:lvl6pPr>
      <a:lvl7pPr marL="5164896" indent="-332460" algn="l" rtl="0" eaLnBrk="1" fontAlgn="base" hangingPunct="1">
        <a:lnSpc>
          <a:spcPts val="4452"/>
        </a:lnSpc>
        <a:spcBef>
          <a:spcPct val="0"/>
        </a:spcBef>
        <a:spcAft>
          <a:spcPct val="40000"/>
        </a:spcAft>
        <a:buClr>
          <a:schemeClr val="tx2"/>
        </a:buClr>
        <a:buFont typeface="Times" pitchFamily="18" charset="0"/>
        <a:buChar char="»"/>
        <a:defRPr sz="3958">
          <a:solidFill>
            <a:schemeClr val="tx1"/>
          </a:solidFill>
          <a:latin typeface="+mn-lt"/>
        </a:defRPr>
      </a:lvl7pPr>
      <a:lvl8pPr marL="5918818" indent="-332460" algn="l" rtl="0" eaLnBrk="1" fontAlgn="base" hangingPunct="1">
        <a:lnSpc>
          <a:spcPts val="4452"/>
        </a:lnSpc>
        <a:spcBef>
          <a:spcPct val="0"/>
        </a:spcBef>
        <a:spcAft>
          <a:spcPct val="40000"/>
        </a:spcAft>
        <a:buClr>
          <a:schemeClr val="tx2"/>
        </a:buClr>
        <a:buFont typeface="Times" pitchFamily="18" charset="0"/>
        <a:buChar char="»"/>
        <a:defRPr sz="3958">
          <a:solidFill>
            <a:schemeClr val="tx1"/>
          </a:solidFill>
          <a:latin typeface="+mn-lt"/>
        </a:defRPr>
      </a:lvl8pPr>
      <a:lvl9pPr marL="6672741" indent="-332460" algn="l" rtl="0" eaLnBrk="1" fontAlgn="base" hangingPunct="1">
        <a:lnSpc>
          <a:spcPts val="4452"/>
        </a:lnSpc>
        <a:spcBef>
          <a:spcPct val="0"/>
        </a:spcBef>
        <a:spcAft>
          <a:spcPct val="40000"/>
        </a:spcAft>
        <a:buClr>
          <a:schemeClr val="tx2"/>
        </a:buClr>
        <a:buFont typeface="Times" pitchFamily="18" charset="0"/>
        <a:buChar char="»"/>
        <a:defRPr sz="3958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1pPr>
      <a:lvl2pPr marL="753923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2pPr>
      <a:lvl3pPr marL="1507846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3pPr>
      <a:lvl4pPr marL="2261768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4pPr>
      <a:lvl5pPr marL="3015691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5pPr>
      <a:lvl6pPr marL="3769614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523537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27746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031382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74767118"/>
              </p:ext>
            </p:extLst>
          </p:nvPr>
        </p:nvGraphicFramePr>
        <p:xfrm>
          <a:off x="3230" y="2628"/>
          <a:ext cx="3220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7" imgW="270" imgH="270" progId="TCLayout.ActiveDocument.1">
                  <p:embed/>
                </p:oleObj>
              </mc:Choice>
              <mc:Fallback>
                <p:oleObj name="Diapositive think-cell" r:id="rId7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230" y="2628"/>
                        <a:ext cx="3220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6"/>
            </p:custDataLst>
          </p:nvPr>
        </p:nvSpPr>
        <p:spPr bwMode="auto">
          <a:xfrm>
            <a:off x="0" y="0"/>
            <a:ext cx="261772" cy="261791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>
              <a:buClr>
                <a:schemeClr val="accent1"/>
              </a:buClr>
              <a:buFontTx/>
              <a:buNone/>
            </a:pPr>
            <a:endParaRPr lang="fr-FR" sz="3958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4480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55273" y="427440"/>
            <a:ext cx="18991503" cy="713967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fr-FR" err="1"/>
              <a:t>Titelmasterformat</a:t>
            </a:r>
            <a:r>
              <a:rPr lang="fr-FR"/>
              <a:t> </a:t>
            </a:r>
            <a:r>
              <a:rPr lang="fr-FR" err="1"/>
              <a:t>durch</a:t>
            </a:r>
            <a:r>
              <a:rPr lang="fr-FR"/>
              <a:t> </a:t>
            </a:r>
            <a:r>
              <a:rPr lang="fr-FR" err="1"/>
              <a:t>Klicken</a:t>
            </a:r>
            <a:r>
              <a:rPr lang="fr-FR"/>
              <a:t> </a:t>
            </a:r>
            <a:r>
              <a:rPr lang="fr-FR" err="1"/>
              <a:t>bearbeiten</a:t>
            </a:r>
            <a:endParaRPr lang="fr-FR"/>
          </a:p>
        </p:txBody>
      </p:sp>
      <p:sp>
        <p:nvSpPr>
          <p:cNvPr id="68" name="Fußzeilenplatzhalter 24"/>
          <p:cNvSpPr txBox="1">
            <a:spLocks/>
          </p:cNvSpPr>
          <p:nvPr/>
        </p:nvSpPr>
        <p:spPr>
          <a:xfrm>
            <a:off x="2375580" y="10950866"/>
            <a:ext cx="12584401" cy="20300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898989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15078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319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cxnSp>
        <p:nvCxnSpPr>
          <p:cNvPr id="46" name="Gerade Verbindung 45"/>
          <p:cNvCxnSpPr/>
          <p:nvPr/>
        </p:nvCxnSpPr>
        <p:spPr>
          <a:xfrm>
            <a:off x="-132421" y="1852973"/>
            <a:ext cx="0" cy="8906618"/>
          </a:xfrm>
          <a:prstGeom prst="line">
            <a:avLst/>
          </a:prstGeom>
          <a:ln w="38100">
            <a:solidFill>
              <a:schemeClr val="bg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39"/>
          <p:cNvCxnSpPr>
            <a:cxnSpLocks/>
          </p:cNvCxnSpPr>
          <p:nvPr/>
        </p:nvCxnSpPr>
        <p:spPr>
          <a:xfrm flipH="1">
            <a:off x="-231892" y="1852722"/>
            <a:ext cx="219184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 Verbindung 39"/>
          <p:cNvCxnSpPr>
            <a:cxnSpLocks/>
          </p:cNvCxnSpPr>
          <p:nvPr/>
        </p:nvCxnSpPr>
        <p:spPr>
          <a:xfrm flipH="1">
            <a:off x="-231892" y="10759590"/>
            <a:ext cx="219184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31"/>
          <p:cNvCxnSpPr/>
          <p:nvPr/>
        </p:nvCxnSpPr>
        <p:spPr>
          <a:xfrm rot="5400000" flipH="1">
            <a:off x="476306" y="11399264"/>
            <a:ext cx="148417" cy="0"/>
          </a:xfrm>
          <a:prstGeom prst="line">
            <a:avLst/>
          </a:prstGeom>
          <a:ln w="31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Gerade Verbindung 79"/>
          <p:cNvCxnSpPr/>
          <p:nvPr/>
        </p:nvCxnSpPr>
        <p:spPr>
          <a:xfrm flipV="1">
            <a:off x="555269" y="11429692"/>
            <a:ext cx="18975431" cy="2"/>
          </a:xfrm>
          <a:prstGeom prst="line">
            <a:avLst/>
          </a:prstGeom>
          <a:ln w="38100">
            <a:solidFill>
              <a:schemeClr val="bg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feld 80"/>
          <p:cNvSpPr txBox="1"/>
          <p:nvPr/>
        </p:nvSpPr>
        <p:spPr bwMode="auto">
          <a:xfrm>
            <a:off x="9141164" y="11532629"/>
            <a:ext cx="1479572" cy="253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 rtl="0" eaLnBrk="0" hangingPunct="0">
              <a:buClr>
                <a:schemeClr val="tx2"/>
              </a:buClr>
              <a:buSzPct val="100000"/>
            </a:pPr>
            <a:r>
              <a:rPr lang="fr-FR" sz="1649" b="1" err="1">
                <a:solidFill>
                  <a:schemeClr val="bg1"/>
                </a:solidFill>
              </a:rPr>
              <a:t>Arbeitsbereich</a:t>
            </a:r>
            <a:endParaRPr lang="fr-FR" sz="1649" b="1">
              <a:solidFill>
                <a:schemeClr val="bg1"/>
              </a:solidFill>
            </a:endParaRPr>
          </a:p>
        </p:txBody>
      </p:sp>
      <p:cxnSp>
        <p:nvCxnSpPr>
          <p:cNvPr id="82" name="Gerade Verbindung 39"/>
          <p:cNvCxnSpPr>
            <a:cxnSpLocks/>
          </p:cNvCxnSpPr>
          <p:nvPr/>
        </p:nvCxnSpPr>
        <p:spPr>
          <a:xfrm flipH="1">
            <a:off x="555686" y="11321754"/>
            <a:ext cx="2" cy="3562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39"/>
          <p:cNvCxnSpPr>
            <a:cxnSpLocks/>
          </p:cNvCxnSpPr>
          <p:nvPr/>
        </p:nvCxnSpPr>
        <p:spPr>
          <a:xfrm>
            <a:off x="19546399" y="11316527"/>
            <a:ext cx="0" cy="3562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feld 49"/>
          <p:cNvSpPr txBox="1"/>
          <p:nvPr/>
        </p:nvSpPr>
        <p:spPr bwMode="auto">
          <a:xfrm rot="16200000">
            <a:off x="-1228646" y="6192831"/>
            <a:ext cx="1599458" cy="253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59363" tIns="0" rIns="59363" bIns="0" rtlCol="0">
            <a:spAutoFit/>
          </a:bodyPr>
          <a:lstStyle/>
          <a:p>
            <a:pPr rtl="0" eaLnBrk="0" hangingPunct="0">
              <a:buClr>
                <a:schemeClr val="tx2"/>
              </a:buClr>
              <a:buSzPct val="100000"/>
            </a:pPr>
            <a:r>
              <a:rPr lang="fr-FR" sz="1649" b="1" err="1">
                <a:solidFill>
                  <a:schemeClr val="bg1"/>
                </a:solidFill>
              </a:rPr>
              <a:t>Arbeitsbereich</a:t>
            </a:r>
            <a:endParaRPr lang="fr-FR" sz="1237" b="1">
              <a:solidFill>
                <a:schemeClr val="bg1"/>
              </a:solidFill>
            </a:endParaRPr>
          </a:p>
        </p:txBody>
      </p:sp>
      <p:sp>
        <p:nvSpPr>
          <p:cNvPr id="5" name="Gleichschenkliges Dreieck 4"/>
          <p:cNvSpPr/>
          <p:nvPr/>
        </p:nvSpPr>
        <p:spPr bwMode="auto">
          <a:xfrm rot="16200000">
            <a:off x="20118558" y="6192068"/>
            <a:ext cx="185260" cy="219209"/>
          </a:xfrm>
          <a:prstGeom prst="triangle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59363" tIns="59363" rIns="59363" bIns="59363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rtl="0" eaLnBrk="0" hangingPunct="0"/>
            <a:endParaRPr lang="fr-FR" sz="2309"/>
          </a:p>
        </p:txBody>
      </p:sp>
      <p:sp>
        <p:nvSpPr>
          <p:cNvPr id="59" name="Gleichschenkliges Dreieck 58"/>
          <p:cNvSpPr/>
          <p:nvPr/>
        </p:nvSpPr>
        <p:spPr bwMode="auto">
          <a:xfrm rot="5400000">
            <a:off x="-203897" y="6196676"/>
            <a:ext cx="185260" cy="219209"/>
          </a:xfrm>
          <a:prstGeom prst="triangle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59363" tIns="59363" rIns="59363" bIns="59363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rtl="0" eaLnBrk="0" hangingPunct="0"/>
            <a:endParaRPr lang="fr-FR" sz="2309"/>
          </a:p>
        </p:txBody>
      </p:sp>
      <p:sp>
        <p:nvSpPr>
          <p:cNvPr id="60" name="Gleichschenkliges Dreieck 59"/>
          <p:cNvSpPr/>
          <p:nvPr/>
        </p:nvSpPr>
        <p:spPr bwMode="auto">
          <a:xfrm>
            <a:off x="9934775" y="11314831"/>
            <a:ext cx="227997" cy="178120"/>
          </a:xfrm>
          <a:prstGeom prst="triangle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59363" tIns="59363" rIns="59363" bIns="59363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rtl="0" eaLnBrk="0" hangingPunct="0"/>
            <a:endParaRPr lang="fr-FR" sz="2309"/>
          </a:p>
        </p:txBody>
      </p:sp>
      <p:pic>
        <p:nvPicPr>
          <p:cNvPr id="8" name="MigrosClassification_P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683053" y="192335"/>
            <a:ext cx="737995" cy="599663"/>
          </a:xfrm>
          <a:prstGeom prst="rect">
            <a:avLst/>
          </a:prstGeom>
        </p:spPr>
      </p:pic>
      <p:sp>
        <p:nvSpPr>
          <p:cNvPr id="21" name="Textplatzhalter 10"/>
          <p:cNvSpPr>
            <a:spLocks noGrp="1"/>
          </p:cNvSpPr>
          <p:nvPr>
            <p:ph type="body" idx="1"/>
          </p:nvPr>
        </p:nvSpPr>
        <p:spPr>
          <a:xfrm>
            <a:off x="554150" y="1852727"/>
            <a:ext cx="18991503" cy="7463648"/>
          </a:xfrm>
          <a:prstGeom prst="rect">
            <a:avLst/>
          </a:prstGeom>
        </p:spPr>
        <p:txBody>
          <a:bodyPr vert="horz" lIns="0" tIns="36000" rIns="0" bIns="36000" rtlCol="0">
            <a:noAutofit/>
          </a:bodyPr>
          <a:lstStyle/>
          <a:p>
            <a:pPr lvl="0"/>
            <a:r>
              <a:rPr lang="fr-FR" err="1"/>
              <a:t>Textmasterformat</a:t>
            </a:r>
            <a:r>
              <a:rPr lang="fr-FR"/>
              <a:t> </a:t>
            </a:r>
            <a:r>
              <a:rPr lang="fr-FR" err="1"/>
              <a:t>bearbeiten</a:t>
            </a:r>
            <a:endParaRPr lang="fr-FR"/>
          </a:p>
          <a:p>
            <a:pPr lvl="2"/>
            <a:r>
              <a:rPr lang="fr-FR" err="1"/>
              <a:t>Zwei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  <a:p>
            <a:pPr lvl="3"/>
            <a:r>
              <a:rPr lang="fr-FR" err="1"/>
              <a:t>Drit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  <a:p>
            <a:pPr lvl="4"/>
            <a:r>
              <a:rPr lang="fr-FR" err="1"/>
              <a:t>Vier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693592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61" r:id="rId3"/>
  </p:sldLayoutIdLst>
  <p:hf hdr="0" ft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3958" b="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5442"/>
        </a:lnSpc>
        <a:spcBef>
          <a:spcPct val="0"/>
        </a:spcBef>
        <a:spcAft>
          <a:spcPct val="0"/>
        </a:spcAft>
        <a:defRPr sz="4947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ts val="5442"/>
        </a:lnSpc>
        <a:spcBef>
          <a:spcPct val="0"/>
        </a:spcBef>
        <a:spcAft>
          <a:spcPct val="0"/>
        </a:spcAft>
        <a:defRPr sz="4947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ts val="5442"/>
        </a:lnSpc>
        <a:spcBef>
          <a:spcPct val="0"/>
        </a:spcBef>
        <a:spcAft>
          <a:spcPct val="0"/>
        </a:spcAft>
        <a:defRPr sz="4947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ts val="5442"/>
        </a:lnSpc>
        <a:spcBef>
          <a:spcPct val="0"/>
        </a:spcBef>
        <a:spcAft>
          <a:spcPct val="0"/>
        </a:spcAft>
        <a:defRPr sz="4947">
          <a:solidFill>
            <a:schemeClr val="tx2"/>
          </a:solidFill>
          <a:latin typeface="Arial" charset="0"/>
        </a:defRPr>
      </a:lvl5pPr>
      <a:lvl6pPr marL="753923" algn="l" rtl="0" eaLnBrk="1" fontAlgn="base" hangingPunct="1">
        <a:lnSpc>
          <a:spcPts val="5442"/>
        </a:lnSpc>
        <a:spcBef>
          <a:spcPct val="0"/>
        </a:spcBef>
        <a:spcAft>
          <a:spcPct val="0"/>
        </a:spcAft>
        <a:defRPr sz="4947">
          <a:solidFill>
            <a:schemeClr val="tx2"/>
          </a:solidFill>
          <a:latin typeface="Arial" charset="0"/>
        </a:defRPr>
      </a:lvl6pPr>
      <a:lvl7pPr marL="1507846" algn="l" rtl="0" eaLnBrk="1" fontAlgn="base" hangingPunct="1">
        <a:lnSpc>
          <a:spcPts val="5442"/>
        </a:lnSpc>
        <a:spcBef>
          <a:spcPct val="0"/>
        </a:spcBef>
        <a:spcAft>
          <a:spcPct val="0"/>
        </a:spcAft>
        <a:defRPr sz="4947">
          <a:solidFill>
            <a:schemeClr val="tx2"/>
          </a:solidFill>
          <a:latin typeface="Arial" charset="0"/>
        </a:defRPr>
      </a:lvl7pPr>
      <a:lvl8pPr marL="2261768" algn="l" rtl="0" eaLnBrk="1" fontAlgn="base" hangingPunct="1">
        <a:lnSpc>
          <a:spcPts val="5442"/>
        </a:lnSpc>
        <a:spcBef>
          <a:spcPct val="0"/>
        </a:spcBef>
        <a:spcAft>
          <a:spcPct val="0"/>
        </a:spcAft>
        <a:defRPr sz="4947">
          <a:solidFill>
            <a:schemeClr val="tx2"/>
          </a:solidFill>
          <a:latin typeface="Arial" charset="0"/>
        </a:defRPr>
      </a:lvl8pPr>
      <a:lvl9pPr marL="3015691" algn="l" rtl="0" eaLnBrk="1" fontAlgn="base" hangingPunct="1">
        <a:lnSpc>
          <a:spcPts val="5442"/>
        </a:lnSpc>
        <a:spcBef>
          <a:spcPct val="0"/>
        </a:spcBef>
        <a:spcAft>
          <a:spcPct val="0"/>
        </a:spcAft>
        <a:defRPr sz="4947">
          <a:solidFill>
            <a:schemeClr val="tx2"/>
          </a:solidFill>
          <a:latin typeface="Arial" charset="0"/>
        </a:defRPr>
      </a:lvl9pPr>
    </p:titleStyle>
    <p:bodyStyle>
      <a:lvl1pPr marL="298428" indent="-298428" algn="l" rtl="0" eaLnBrk="1" fontAlgn="base" hangingPunct="1">
        <a:lnSpc>
          <a:spcPct val="100000"/>
        </a:lnSpc>
        <a:spcBef>
          <a:spcPct val="0"/>
        </a:spcBef>
        <a:spcAft>
          <a:spcPts val="989"/>
        </a:spcAft>
        <a:buClr>
          <a:schemeClr val="accent1"/>
        </a:buClr>
        <a:buFont typeface="Arial" panose="020B0604020202020204" pitchFamily="34" charset="0"/>
        <a:buChar char="•"/>
        <a:defRPr sz="2638">
          <a:solidFill>
            <a:schemeClr val="tx1"/>
          </a:solidFill>
          <a:latin typeface="+mn-lt"/>
          <a:ea typeface="+mn-ea"/>
          <a:cs typeface="+mn-cs"/>
        </a:defRPr>
      </a:lvl1pPr>
      <a:lvl2pPr marL="293192" indent="-293192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chemeClr val="accent1"/>
        </a:buClr>
        <a:buChar char="•"/>
        <a:defRPr sz="2638">
          <a:solidFill>
            <a:schemeClr val="tx1"/>
          </a:solidFill>
          <a:latin typeface="+mn-lt"/>
        </a:defRPr>
      </a:lvl2pPr>
      <a:lvl3pPr marL="591620" indent="-298428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chemeClr val="accent1"/>
        </a:buClr>
        <a:buFont typeface="Arial Unicode MS" panose="020B0604020202020204" pitchFamily="34" charset="-128"/>
        <a:buChar char="ｰ"/>
        <a:defRPr sz="2638">
          <a:solidFill>
            <a:schemeClr val="tx1"/>
          </a:solidFill>
          <a:latin typeface="+mn-lt"/>
        </a:defRPr>
      </a:lvl3pPr>
      <a:lvl4pPr marL="884812" indent="-293192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chemeClr val="accent1"/>
        </a:buClr>
        <a:buFont typeface="Arial Unicode MS" panose="020B0604020202020204" pitchFamily="34" charset="-128"/>
        <a:buChar char="-"/>
        <a:defRPr sz="2638">
          <a:solidFill>
            <a:schemeClr val="tx1"/>
          </a:solidFill>
          <a:latin typeface="+mn-lt"/>
        </a:defRPr>
      </a:lvl4pPr>
      <a:lvl5pPr marL="1183240" indent="-298428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-"/>
        <a:defRPr lang="de-CH" sz="2638" dirty="0">
          <a:solidFill>
            <a:schemeClr val="tx1"/>
          </a:solidFill>
          <a:latin typeface="+mn-lt"/>
        </a:defRPr>
      </a:lvl5pPr>
      <a:lvl6pPr marL="4410973" indent="-332460" algn="l" rtl="0" eaLnBrk="1" fontAlgn="base" hangingPunct="1">
        <a:lnSpc>
          <a:spcPts val="4452"/>
        </a:lnSpc>
        <a:spcBef>
          <a:spcPct val="0"/>
        </a:spcBef>
        <a:spcAft>
          <a:spcPct val="40000"/>
        </a:spcAft>
        <a:buClr>
          <a:schemeClr val="tx2"/>
        </a:buClr>
        <a:buFont typeface="Times" pitchFamily="18" charset="0"/>
        <a:buChar char="»"/>
        <a:defRPr sz="3958">
          <a:solidFill>
            <a:schemeClr val="tx1"/>
          </a:solidFill>
          <a:latin typeface="+mn-lt"/>
        </a:defRPr>
      </a:lvl6pPr>
      <a:lvl7pPr marL="5164896" indent="-332460" algn="l" rtl="0" eaLnBrk="1" fontAlgn="base" hangingPunct="1">
        <a:lnSpc>
          <a:spcPts val="4452"/>
        </a:lnSpc>
        <a:spcBef>
          <a:spcPct val="0"/>
        </a:spcBef>
        <a:spcAft>
          <a:spcPct val="40000"/>
        </a:spcAft>
        <a:buClr>
          <a:schemeClr val="tx2"/>
        </a:buClr>
        <a:buFont typeface="Times" pitchFamily="18" charset="0"/>
        <a:buChar char="»"/>
        <a:defRPr sz="3958">
          <a:solidFill>
            <a:schemeClr val="tx1"/>
          </a:solidFill>
          <a:latin typeface="+mn-lt"/>
        </a:defRPr>
      </a:lvl7pPr>
      <a:lvl8pPr marL="5918818" indent="-332460" algn="l" rtl="0" eaLnBrk="1" fontAlgn="base" hangingPunct="1">
        <a:lnSpc>
          <a:spcPts val="4452"/>
        </a:lnSpc>
        <a:spcBef>
          <a:spcPct val="0"/>
        </a:spcBef>
        <a:spcAft>
          <a:spcPct val="40000"/>
        </a:spcAft>
        <a:buClr>
          <a:schemeClr val="tx2"/>
        </a:buClr>
        <a:buFont typeface="Times" pitchFamily="18" charset="0"/>
        <a:buChar char="»"/>
        <a:defRPr sz="3958">
          <a:solidFill>
            <a:schemeClr val="tx1"/>
          </a:solidFill>
          <a:latin typeface="+mn-lt"/>
        </a:defRPr>
      </a:lvl8pPr>
      <a:lvl9pPr marL="6672741" indent="-332460" algn="l" rtl="0" eaLnBrk="1" fontAlgn="base" hangingPunct="1">
        <a:lnSpc>
          <a:spcPts val="4452"/>
        </a:lnSpc>
        <a:spcBef>
          <a:spcPct val="0"/>
        </a:spcBef>
        <a:spcAft>
          <a:spcPct val="40000"/>
        </a:spcAft>
        <a:buClr>
          <a:schemeClr val="tx2"/>
        </a:buClr>
        <a:buFont typeface="Times" pitchFamily="18" charset="0"/>
        <a:buChar char="»"/>
        <a:defRPr sz="3958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1pPr>
      <a:lvl2pPr marL="753923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2pPr>
      <a:lvl3pPr marL="1507846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3pPr>
      <a:lvl4pPr marL="2261768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4pPr>
      <a:lvl5pPr marL="3015691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5pPr>
      <a:lvl6pPr marL="3769614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523537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27746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031382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980245946"/>
              </p:ext>
            </p:extLst>
          </p:nvPr>
        </p:nvGraphicFramePr>
        <p:xfrm>
          <a:off x="3230" y="2628"/>
          <a:ext cx="3220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9" imgW="270" imgH="270" progId="TCLayout.ActiveDocument.1">
                  <p:embed/>
                </p:oleObj>
              </mc:Choice>
              <mc:Fallback>
                <p:oleObj name="Diapositive think-cell" r:id="rId9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230" y="2628"/>
                        <a:ext cx="3220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61772" cy="261791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>
              <a:buClr>
                <a:schemeClr val="accent1"/>
              </a:buClr>
              <a:buFontTx/>
              <a:buNone/>
            </a:pPr>
            <a:endParaRPr lang="fr-FR" sz="3958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4480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55273" y="427440"/>
            <a:ext cx="18991503" cy="713967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fr-FR" err="1"/>
              <a:t>Titelmasterformat</a:t>
            </a:r>
            <a:r>
              <a:rPr lang="fr-FR"/>
              <a:t> </a:t>
            </a:r>
            <a:r>
              <a:rPr lang="fr-FR" err="1"/>
              <a:t>durch</a:t>
            </a:r>
            <a:r>
              <a:rPr lang="fr-FR"/>
              <a:t> </a:t>
            </a:r>
            <a:r>
              <a:rPr lang="fr-FR" err="1"/>
              <a:t>Klicken</a:t>
            </a:r>
            <a:r>
              <a:rPr lang="fr-FR"/>
              <a:t> </a:t>
            </a:r>
            <a:r>
              <a:rPr lang="fr-FR" err="1"/>
              <a:t>bearbeiten</a:t>
            </a:r>
            <a:endParaRPr lang="fr-FR"/>
          </a:p>
        </p:txBody>
      </p:sp>
      <p:sp>
        <p:nvSpPr>
          <p:cNvPr id="68" name="Fußzeilenplatzhalter 24"/>
          <p:cNvSpPr txBox="1">
            <a:spLocks/>
          </p:cNvSpPr>
          <p:nvPr/>
        </p:nvSpPr>
        <p:spPr>
          <a:xfrm>
            <a:off x="2375580" y="10950866"/>
            <a:ext cx="12584401" cy="20300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898989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15078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319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cxnSp>
        <p:nvCxnSpPr>
          <p:cNvPr id="46" name="Gerade Verbindung 45"/>
          <p:cNvCxnSpPr/>
          <p:nvPr/>
        </p:nvCxnSpPr>
        <p:spPr>
          <a:xfrm>
            <a:off x="-132421" y="1852973"/>
            <a:ext cx="0" cy="8906618"/>
          </a:xfrm>
          <a:prstGeom prst="line">
            <a:avLst/>
          </a:prstGeom>
          <a:ln w="38100">
            <a:solidFill>
              <a:schemeClr val="bg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39"/>
          <p:cNvCxnSpPr>
            <a:cxnSpLocks/>
          </p:cNvCxnSpPr>
          <p:nvPr/>
        </p:nvCxnSpPr>
        <p:spPr>
          <a:xfrm flipH="1">
            <a:off x="-231892" y="1852722"/>
            <a:ext cx="219184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 Verbindung 39"/>
          <p:cNvCxnSpPr>
            <a:cxnSpLocks/>
          </p:cNvCxnSpPr>
          <p:nvPr/>
        </p:nvCxnSpPr>
        <p:spPr>
          <a:xfrm flipH="1">
            <a:off x="-231892" y="10759590"/>
            <a:ext cx="219184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31"/>
          <p:cNvCxnSpPr/>
          <p:nvPr/>
        </p:nvCxnSpPr>
        <p:spPr>
          <a:xfrm rot="5400000" flipH="1">
            <a:off x="476306" y="11399264"/>
            <a:ext cx="148417" cy="0"/>
          </a:xfrm>
          <a:prstGeom prst="line">
            <a:avLst/>
          </a:prstGeom>
          <a:ln w="31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Gerade Verbindung 79"/>
          <p:cNvCxnSpPr/>
          <p:nvPr/>
        </p:nvCxnSpPr>
        <p:spPr>
          <a:xfrm flipV="1">
            <a:off x="555269" y="11429692"/>
            <a:ext cx="18975431" cy="2"/>
          </a:xfrm>
          <a:prstGeom prst="line">
            <a:avLst/>
          </a:prstGeom>
          <a:ln w="38100">
            <a:solidFill>
              <a:schemeClr val="bg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feld 80"/>
          <p:cNvSpPr txBox="1"/>
          <p:nvPr/>
        </p:nvSpPr>
        <p:spPr bwMode="auto">
          <a:xfrm>
            <a:off x="9141164" y="11532629"/>
            <a:ext cx="1479572" cy="253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 rtl="0" eaLnBrk="0" hangingPunct="0">
              <a:buClr>
                <a:schemeClr val="tx2"/>
              </a:buClr>
              <a:buSzPct val="100000"/>
            </a:pPr>
            <a:r>
              <a:rPr lang="fr-FR" sz="1649" b="1" err="1">
                <a:solidFill>
                  <a:schemeClr val="bg1"/>
                </a:solidFill>
              </a:rPr>
              <a:t>Arbeitsbereich</a:t>
            </a:r>
            <a:endParaRPr lang="fr-FR" sz="1649" b="1">
              <a:solidFill>
                <a:schemeClr val="bg1"/>
              </a:solidFill>
            </a:endParaRPr>
          </a:p>
        </p:txBody>
      </p:sp>
      <p:cxnSp>
        <p:nvCxnSpPr>
          <p:cNvPr id="82" name="Gerade Verbindung 39"/>
          <p:cNvCxnSpPr>
            <a:cxnSpLocks/>
          </p:cNvCxnSpPr>
          <p:nvPr/>
        </p:nvCxnSpPr>
        <p:spPr>
          <a:xfrm flipH="1">
            <a:off x="555686" y="11321754"/>
            <a:ext cx="2" cy="3562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39"/>
          <p:cNvCxnSpPr>
            <a:cxnSpLocks/>
          </p:cNvCxnSpPr>
          <p:nvPr/>
        </p:nvCxnSpPr>
        <p:spPr>
          <a:xfrm>
            <a:off x="19546399" y="11316527"/>
            <a:ext cx="0" cy="3562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feld 49"/>
          <p:cNvSpPr txBox="1"/>
          <p:nvPr/>
        </p:nvSpPr>
        <p:spPr bwMode="auto">
          <a:xfrm rot="16200000">
            <a:off x="-1228646" y="6192831"/>
            <a:ext cx="1599458" cy="253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59363" tIns="0" rIns="59363" bIns="0" rtlCol="0">
            <a:spAutoFit/>
          </a:bodyPr>
          <a:lstStyle/>
          <a:p>
            <a:pPr rtl="0" eaLnBrk="0" hangingPunct="0">
              <a:buClr>
                <a:schemeClr val="tx2"/>
              </a:buClr>
              <a:buSzPct val="100000"/>
            </a:pPr>
            <a:r>
              <a:rPr lang="fr-FR" sz="1649" b="1" err="1">
                <a:solidFill>
                  <a:schemeClr val="bg1"/>
                </a:solidFill>
              </a:rPr>
              <a:t>Arbeitsbereich</a:t>
            </a:r>
            <a:endParaRPr lang="fr-FR" sz="1237" b="1">
              <a:solidFill>
                <a:schemeClr val="bg1"/>
              </a:solidFill>
            </a:endParaRPr>
          </a:p>
        </p:txBody>
      </p:sp>
      <p:sp>
        <p:nvSpPr>
          <p:cNvPr id="5" name="Gleichschenkliges Dreieck 4"/>
          <p:cNvSpPr/>
          <p:nvPr/>
        </p:nvSpPr>
        <p:spPr bwMode="auto">
          <a:xfrm rot="16200000">
            <a:off x="20118558" y="6192068"/>
            <a:ext cx="185260" cy="219209"/>
          </a:xfrm>
          <a:prstGeom prst="triangle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59363" tIns="59363" rIns="59363" bIns="59363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rtl="0" eaLnBrk="0" hangingPunct="0"/>
            <a:endParaRPr lang="fr-FR" sz="2309"/>
          </a:p>
        </p:txBody>
      </p:sp>
      <p:sp>
        <p:nvSpPr>
          <p:cNvPr id="59" name="Gleichschenkliges Dreieck 58"/>
          <p:cNvSpPr/>
          <p:nvPr/>
        </p:nvSpPr>
        <p:spPr bwMode="auto">
          <a:xfrm rot="5400000">
            <a:off x="-203897" y="6196676"/>
            <a:ext cx="185260" cy="219209"/>
          </a:xfrm>
          <a:prstGeom prst="triangle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59363" tIns="59363" rIns="59363" bIns="59363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rtl="0" eaLnBrk="0" hangingPunct="0"/>
            <a:endParaRPr lang="fr-FR" sz="2309"/>
          </a:p>
        </p:txBody>
      </p:sp>
      <p:sp>
        <p:nvSpPr>
          <p:cNvPr id="60" name="Gleichschenkliges Dreieck 59"/>
          <p:cNvSpPr/>
          <p:nvPr/>
        </p:nvSpPr>
        <p:spPr bwMode="auto">
          <a:xfrm>
            <a:off x="9934775" y="11314831"/>
            <a:ext cx="227997" cy="178120"/>
          </a:xfrm>
          <a:prstGeom prst="triangle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59363" tIns="59363" rIns="59363" bIns="59363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rtl="0" eaLnBrk="0" hangingPunct="0"/>
            <a:endParaRPr lang="fr-FR" sz="2309"/>
          </a:p>
        </p:txBody>
      </p:sp>
      <p:pic>
        <p:nvPicPr>
          <p:cNvPr id="8" name="MigrosClassification_P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9683053" y="192335"/>
            <a:ext cx="737995" cy="599663"/>
          </a:xfrm>
          <a:prstGeom prst="rect">
            <a:avLst/>
          </a:prstGeom>
        </p:spPr>
      </p:pic>
      <p:sp>
        <p:nvSpPr>
          <p:cNvPr id="21" name="Textplatzhalter 10"/>
          <p:cNvSpPr>
            <a:spLocks noGrp="1"/>
          </p:cNvSpPr>
          <p:nvPr>
            <p:ph type="body" idx="1"/>
          </p:nvPr>
        </p:nvSpPr>
        <p:spPr>
          <a:xfrm>
            <a:off x="554150" y="1852727"/>
            <a:ext cx="18991503" cy="7463648"/>
          </a:xfrm>
          <a:prstGeom prst="rect">
            <a:avLst/>
          </a:prstGeom>
        </p:spPr>
        <p:txBody>
          <a:bodyPr vert="horz" lIns="0" tIns="36000" rIns="0" bIns="36000" rtlCol="0">
            <a:noAutofit/>
          </a:bodyPr>
          <a:lstStyle/>
          <a:p>
            <a:pPr lvl="0"/>
            <a:r>
              <a:rPr lang="fr-FR" err="1"/>
              <a:t>Textmasterformat</a:t>
            </a:r>
            <a:r>
              <a:rPr lang="fr-FR"/>
              <a:t> </a:t>
            </a:r>
            <a:r>
              <a:rPr lang="fr-FR" err="1"/>
              <a:t>bearbeiten</a:t>
            </a:r>
            <a:endParaRPr lang="fr-FR"/>
          </a:p>
          <a:p>
            <a:pPr lvl="2"/>
            <a:r>
              <a:rPr lang="fr-FR" err="1"/>
              <a:t>Zwei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  <a:p>
            <a:pPr lvl="3"/>
            <a:r>
              <a:rPr lang="fr-FR" err="1"/>
              <a:t>Drit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  <a:p>
            <a:pPr lvl="4"/>
            <a:r>
              <a:rPr lang="fr-FR" err="1"/>
              <a:t>Vier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17003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65" r:id="rId3"/>
    <p:sldLayoutId id="2147483766" r:id="rId4"/>
    <p:sldLayoutId id="2147483768" r:id="rId5"/>
  </p:sldLayoutIdLst>
  <p:hf hdr="0" ft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3958" b="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5442"/>
        </a:lnSpc>
        <a:spcBef>
          <a:spcPct val="0"/>
        </a:spcBef>
        <a:spcAft>
          <a:spcPct val="0"/>
        </a:spcAft>
        <a:defRPr sz="4947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ts val="5442"/>
        </a:lnSpc>
        <a:spcBef>
          <a:spcPct val="0"/>
        </a:spcBef>
        <a:spcAft>
          <a:spcPct val="0"/>
        </a:spcAft>
        <a:defRPr sz="4947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ts val="5442"/>
        </a:lnSpc>
        <a:spcBef>
          <a:spcPct val="0"/>
        </a:spcBef>
        <a:spcAft>
          <a:spcPct val="0"/>
        </a:spcAft>
        <a:defRPr sz="4947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ts val="5442"/>
        </a:lnSpc>
        <a:spcBef>
          <a:spcPct val="0"/>
        </a:spcBef>
        <a:spcAft>
          <a:spcPct val="0"/>
        </a:spcAft>
        <a:defRPr sz="4947">
          <a:solidFill>
            <a:schemeClr val="tx2"/>
          </a:solidFill>
          <a:latin typeface="Arial" charset="0"/>
        </a:defRPr>
      </a:lvl5pPr>
      <a:lvl6pPr marL="753923" algn="l" rtl="0" eaLnBrk="1" fontAlgn="base" hangingPunct="1">
        <a:lnSpc>
          <a:spcPts val="5442"/>
        </a:lnSpc>
        <a:spcBef>
          <a:spcPct val="0"/>
        </a:spcBef>
        <a:spcAft>
          <a:spcPct val="0"/>
        </a:spcAft>
        <a:defRPr sz="4947">
          <a:solidFill>
            <a:schemeClr val="tx2"/>
          </a:solidFill>
          <a:latin typeface="Arial" charset="0"/>
        </a:defRPr>
      </a:lvl6pPr>
      <a:lvl7pPr marL="1507846" algn="l" rtl="0" eaLnBrk="1" fontAlgn="base" hangingPunct="1">
        <a:lnSpc>
          <a:spcPts val="5442"/>
        </a:lnSpc>
        <a:spcBef>
          <a:spcPct val="0"/>
        </a:spcBef>
        <a:spcAft>
          <a:spcPct val="0"/>
        </a:spcAft>
        <a:defRPr sz="4947">
          <a:solidFill>
            <a:schemeClr val="tx2"/>
          </a:solidFill>
          <a:latin typeface="Arial" charset="0"/>
        </a:defRPr>
      </a:lvl7pPr>
      <a:lvl8pPr marL="2261768" algn="l" rtl="0" eaLnBrk="1" fontAlgn="base" hangingPunct="1">
        <a:lnSpc>
          <a:spcPts val="5442"/>
        </a:lnSpc>
        <a:spcBef>
          <a:spcPct val="0"/>
        </a:spcBef>
        <a:spcAft>
          <a:spcPct val="0"/>
        </a:spcAft>
        <a:defRPr sz="4947">
          <a:solidFill>
            <a:schemeClr val="tx2"/>
          </a:solidFill>
          <a:latin typeface="Arial" charset="0"/>
        </a:defRPr>
      </a:lvl8pPr>
      <a:lvl9pPr marL="3015691" algn="l" rtl="0" eaLnBrk="1" fontAlgn="base" hangingPunct="1">
        <a:lnSpc>
          <a:spcPts val="5442"/>
        </a:lnSpc>
        <a:spcBef>
          <a:spcPct val="0"/>
        </a:spcBef>
        <a:spcAft>
          <a:spcPct val="0"/>
        </a:spcAft>
        <a:defRPr sz="4947">
          <a:solidFill>
            <a:schemeClr val="tx2"/>
          </a:solidFill>
          <a:latin typeface="Arial" charset="0"/>
        </a:defRPr>
      </a:lvl9pPr>
    </p:titleStyle>
    <p:bodyStyle>
      <a:lvl1pPr marL="298428" indent="-298428" algn="l" rtl="0" eaLnBrk="1" fontAlgn="base" hangingPunct="1">
        <a:lnSpc>
          <a:spcPct val="100000"/>
        </a:lnSpc>
        <a:spcBef>
          <a:spcPct val="0"/>
        </a:spcBef>
        <a:spcAft>
          <a:spcPts val="989"/>
        </a:spcAft>
        <a:buClr>
          <a:schemeClr val="accent1"/>
        </a:buClr>
        <a:buFont typeface="Arial" panose="020B0604020202020204" pitchFamily="34" charset="0"/>
        <a:buChar char="•"/>
        <a:defRPr sz="2638">
          <a:solidFill>
            <a:schemeClr val="tx1"/>
          </a:solidFill>
          <a:latin typeface="+mn-lt"/>
          <a:ea typeface="+mn-ea"/>
          <a:cs typeface="+mn-cs"/>
        </a:defRPr>
      </a:lvl1pPr>
      <a:lvl2pPr marL="293192" indent="-293192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chemeClr val="accent1"/>
        </a:buClr>
        <a:buChar char="•"/>
        <a:defRPr sz="2638">
          <a:solidFill>
            <a:schemeClr val="tx1"/>
          </a:solidFill>
          <a:latin typeface="+mn-lt"/>
        </a:defRPr>
      </a:lvl2pPr>
      <a:lvl3pPr marL="591620" indent="-298428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chemeClr val="accent1"/>
        </a:buClr>
        <a:buFont typeface="Arial Unicode MS" panose="020B0604020202020204" pitchFamily="34" charset="-128"/>
        <a:buChar char="ｰ"/>
        <a:defRPr sz="2638">
          <a:solidFill>
            <a:schemeClr val="tx1"/>
          </a:solidFill>
          <a:latin typeface="+mn-lt"/>
        </a:defRPr>
      </a:lvl3pPr>
      <a:lvl4pPr marL="884812" indent="-293192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chemeClr val="accent1"/>
        </a:buClr>
        <a:buFont typeface="Arial Unicode MS" panose="020B0604020202020204" pitchFamily="34" charset="-128"/>
        <a:buChar char="-"/>
        <a:defRPr sz="2638">
          <a:solidFill>
            <a:schemeClr val="tx1"/>
          </a:solidFill>
          <a:latin typeface="+mn-lt"/>
        </a:defRPr>
      </a:lvl4pPr>
      <a:lvl5pPr marL="1183240" indent="-298428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-"/>
        <a:defRPr lang="de-CH" sz="2638" dirty="0">
          <a:solidFill>
            <a:schemeClr val="tx1"/>
          </a:solidFill>
          <a:latin typeface="+mn-lt"/>
        </a:defRPr>
      </a:lvl5pPr>
      <a:lvl6pPr marL="4410973" indent="-332460" algn="l" rtl="0" eaLnBrk="1" fontAlgn="base" hangingPunct="1">
        <a:lnSpc>
          <a:spcPts val="4452"/>
        </a:lnSpc>
        <a:spcBef>
          <a:spcPct val="0"/>
        </a:spcBef>
        <a:spcAft>
          <a:spcPct val="40000"/>
        </a:spcAft>
        <a:buClr>
          <a:schemeClr val="tx2"/>
        </a:buClr>
        <a:buFont typeface="Times" pitchFamily="18" charset="0"/>
        <a:buChar char="»"/>
        <a:defRPr sz="3958">
          <a:solidFill>
            <a:schemeClr val="tx1"/>
          </a:solidFill>
          <a:latin typeface="+mn-lt"/>
        </a:defRPr>
      </a:lvl6pPr>
      <a:lvl7pPr marL="5164896" indent="-332460" algn="l" rtl="0" eaLnBrk="1" fontAlgn="base" hangingPunct="1">
        <a:lnSpc>
          <a:spcPts val="4452"/>
        </a:lnSpc>
        <a:spcBef>
          <a:spcPct val="0"/>
        </a:spcBef>
        <a:spcAft>
          <a:spcPct val="40000"/>
        </a:spcAft>
        <a:buClr>
          <a:schemeClr val="tx2"/>
        </a:buClr>
        <a:buFont typeface="Times" pitchFamily="18" charset="0"/>
        <a:buChar char="»"/>
        <a:defRPr sz="3958">
          <a:solidFill>
            <a:schemeClr val="tx1"/>
          </a:solidFill>
          <a:latin typeface="+mn-lt"/>
        </a:defRPr>
      </a:lvl7pPr>
      <a:lvl8pPr marL="5918818" indent="-332460" algn="l" rtl="0" eaLnBrk="1" fontAlgn="base" hangingPunct="1">
        <a:lnSpc>
          <a:spcPts val="4452"/>
        </a:lnSpc>
        <a:spcBef>
          <a:spcPct val="0"/>
        </a:spcBef>
        <a:spcAft>
          <a:spcPct val="40000"/>
        </a:spcAft>
        <a:buClr>
          <a:schemeClr val="tx2"/>
        </a:buClr>
        <a:buFont typeface="Times" pitchFamily="18" charset="0"/>
        <a:buChar char="»"/>
        <a:defRPr sz="3958">
          <a:solidFill>
            <a:schemeClr val="tx1"/>
          </a:solidFill>
          <a:latin typeface="+mn-lt"/>
        </a:defRPr>
      </a:lvl8pPr>
      <a:lvl9pPr marL="6672741" indent="-332460" algn="l" rtl="0" eaLnBrk="1" fontAlgn="base" hangingPunct="1">
        <a:lnSpc>
          <a:spcPts val="4452"/>
        </a:lnSpc>
        <a:spcBef>
          <a:spcPct val="0"/>
        </a:spcBef>
        <a:spcAft>
          <a:spcPct val="40000"/>
        </a:spcAft>
        <a:buClr>
          <a:schemeClr val="tx2"/>
        </a:buClr>
        <a:buFont typeface="Times" pitchFamily="18" charset="0"/>
        <a:buChar char="»"/>
        <a:defRPr sz="3958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1pPr>
      <a:lvl2pPr marL="753923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2pPr>
      <a:lvl3pPr marL="1507846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3pPr>
      <a:lvl4pPr marL="2261768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4pPr>
      <a:lvl5pPr marL="3015691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5pPr>
      <a:lvl6pPr marL="3769614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523537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27746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031382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4.xml"/><Relationship Id="rId6" Type="http://schemas.openxmlformats.org/officeDocument/2006/relationships/image" Target="../media/image20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9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5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20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sv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23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35.svg"/><Relationship Id="rId18" Type="http://schemas.openxmlformats.org/officeDocument/2006/relationships/image" Target="../media/image40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29.svg"/><Relationship Id="rId12" Type="http://schemas.openxmlformats.org/officeDocument/2006/relationships/image" Target="../media/image34.png"/><Relationship Id="rId17" Type="http://schemas.openxmlformats.org/officeDocument/2006/relationships/image" Target="../media/image39.sv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8.png"/><Relationship Id="rId1" Type="http://schemas.openxmlformats.org/officeDocument/2006/relationships/tags" Target="../tags/tag46.xml"/><Relationship Id="rId6" Type="http://schemas.openxmlformats.org/officeDocument/2006/relationships/image" Target="../media/image28.png"/><Relationship Id="rId11" Type="http://schemas.openxmlformats.org/officeDocument/2006/relationships/image" Target="../media/image33.svg"/><Relationship Id="rId5" Type="http://schemas.openxmlformats.org/officeDocument/2006/relationships/image" Target="../media/image1.emf"/><Relationship Id="rId15" Type="http://schemas.openxmlformats.org/officeDocument/2006/relationships/image" Target="../media/image37.svg"/><Relationship Id="rId10" Type="http://schemas.openxmlformats.org/officeDocument/2006/relationships/image" Target="../media/image32.png"/><Relationship Id="rId19" Type="http://schemas.openxmlformats.org/officeDocument/2006/relationships/image" Target="../media/image41.svg"/><Relationship Id="rId4" Type="http://schemas.openxmlformats.org/officeDocument/2006/relationships/oleObject" Target="../embeddings/oleObject21.bin"/><Relationship Id="rId9" Type="http://schemas.openxmlformats.org/officeDocument/2006/relationships/image" Target="../media/image31.svg"/><Relationship Id="rId14" Type="http://schemas.openxmlformats.org/officeDocument/2006/relationships/image" Target="../media/image3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43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7.xml"/><Relationship Id="rId6" Type="http://schemas.openxmlformats.org/officeDocument/2006/relationships/image" Target="../media/image4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13" Type="http://schemas.openxmlformats.org/officeDocument/2006/relationships/image" Target="../media/image50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44.png"/><Relationship Id="rId12" Type="http://schemas.openxmlformats.org/officeDocument/2006/relationships/image" Target="../media/image49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8.xml"/><Relationship Id="rId6" Type="http://schemas.openxmlformats.org/officeDocument/2006/relationships/image" Target="../media/image21.png"/><Relationship Id="rId11" Type="http://schemas.openxmlformats.org/officeDocument/2006/relationships/image" Target="../media/image48.png"/><Relationship Id="rId5" Type="http://schemas.openxmlformats.org/officeDocument/2006/relationships/image" Target="../media/image1.emf"/><Relationship Id="rId10" Type="http://schemas.openxmlformats.org/officeDocument/2006/relationships/image" Target="../media/image47.png"/><Relationship Id="rId4" Type="http://schemas.openxmlformats.org/officeDocument/2006/relationships/oleObject" Target="../embeddings/oleObject21.bin"/><Relationship Id="rId9" Type="http://schemas.openxmlformats.org/officeDocument/2006/relationships/image" Target="../media/image46.jpeg"/><Relationship Id="rId14" Type="http://schemas.openxmlformats.org/officeDocument/2006/relationships/image" Target="../media/image51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9.xml"/><Relationship Id="rId6" Type="http://schemas.openxmlformats.org/officeDocument/2006/relationships/image" Target="../media/image20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D264D4F-617F-9981-D7CE-ED114AF099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8282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95" imgH="396" progId="TCLayout.ActiveDocument.1">
                  <p:embed/>
                </p:oleObj>
              </mc:Choice>
              <mc:Fallback>
                <p:oleObj name="Diapositive think-cell" r:id="rId4" imgW="395" imgH="39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D264D4F-617F-9981-D7CE-ED114AF099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8" name="object 2">
            <a:extLst>
              <a:ext uri="{FF2B5EF4-FFF2-40B4-BE49-F238E27FC236}">
                <a16:creationId xmlns:a16="http://schemas.microsoft.com/office/drawing/2014/main" id="{D53F78D1-8CEB-F771-3E15-CA20D6A345CF}"/>
              </a:ext>
            </a:extLst>
          </p:cNvPr>
          <p:cNvSpPr/>
          <p:nvPr/>
        </p:nvSpPr>
        <p:spPr>
          <a:xfrm>
            <a:off x="0" y="0"/>
            <a:ext cx="20104100" cy="11308715"/>
          </a:xfrm>
          <a:custGeom>
            <a:avLst/>
            <a:gdLst/>
            <a:ahLst/>
            <a:cxnLst/>
            <a:rect l="l" t="t" r="r" b="b"/>
            <a:pathLst>
              <a:path w="20104100" h="11308715">
                <a:moveTo>
                  <a:pt x="20104099" y="0"/>
                </a:moveTo>
                <a:lnTo>
                  <a:pt x="0" y="0"/>
                </a:lnTo>
                <a:lnTo>
                  <a:pt x="0" y="11308556"/>
                </a:lnTo>
                <a:lnTo>
                  <a:pt x="20104099" y="11308556"/>
                </a:lnTo>
                <a:lnTo>
                  <a:pt x="20104099" y="0"/>
                </a:lnTo>
                <a:close/>
              </a:path>
            </a:pathLst>
          </a:custGeom>
          <a:solidFill>
            <a:srgbClr val="E1E6E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10052050" y="418835"/>
            <a:ext cx="9633585" cy="10471150"/>
          </a:xfrm>
          <a:custGeom>
            <a:avLst/>
            <a:gdLst/>
            <a:ahLst/>
            <a:cxnLst/>
            <a:rect l="l" t="t" r="r" b="b"/>
            <a:pathLst>
              <a:path w="9633585" h="10471150">
                <a:moveTo>
                  <a:pt x="9633214" y="0"/>
                </a:moveTo>
                <a:lnTo>
                  <a:pt x="5558637" y="0"/>
                </a:lnTo>
                <a:lnTo>
                  <a:pt x="4816607" y="1675341"/>
                </a:lnTo>
                <a:lnTo>
                  <a:pt x="4074577" y="0"/>
                </a:lnTo>
                <a:lnTo>
                  <a:pt x="0" y="0"/>
                </a:lnTo>
                <a:lnTo>
                  <a:pt x="0" y="10470885"/>
                </a:lnTo>
                <a:lnTo>
                  <a:pt x="9633214" y="10470885"/>
                </a:lnTo>
                <a:lnTo>
                  <a:pt x="9633214" y="0"/>
                </a:lnTo>
                <a:close/>
              </a:path>
            </a:pathLst>
          </a:custGeom>
          <a:solidFill>
            <a:srgbClr val="FF66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10547587" y="3190686"/>
            <a:ext cx="9036447" cy="469808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lang="fr-CH" sz="5400" spc="-10" dirty="0">
                <a:solidFill>
                  <a:srgbClr val="FFFFFF"/>
                </a:solidFill>
              </a:rPr>
              <a:t>Migros Genève : </a:t>
            </a:r>
            <a:br>
              <a:rPr lang="fr-CH" sz="5400" spc="-10" dirty="0">
                <a:solidFill>
                  <a:srgbClr val="FFFFFF"/>
                </a:solidFill>
              </a:rPr>
            </a:br>
            <a:r>
              <a:rPr lang="fr-FR" sz="5400" b="0" i="1" spc="-10" dirty="0">
                <a:solidFill>
                  <a:srgbClr val="FFFFFF"/>
                </a:solidFill>
              </a:rPr>
              <a:t>construire une culture de santé durable au travail</a:t>
            </a:r>
            <a:br>
              <a:rPr lang="fr-CH" sz="8250" spc="-10" dirty="0">
                <a:solidFill>
                  <a:srgbClr val="FFFFFF"/>
                </a:solidFill>
              </a:rPr>
            </a:br>
            <a:r>
              <a:rPr lang="fr-CH" sz="2800" b="0" i="1" spc="-10" dirty="0">
                <a:solidFill>
                  <a:srgbClr val="FFFFFF"/>
                </a:solidFill>
              </a:rPr>
              <a:t>Entreprise labellisée </a:t>
            </a:r>
            <a:r>
              <a:rPr lang="fr-CH" sz="2800" b="0" i="1" spc="-10" dirty="0" err="1">
                <a:solidFill>
                  <a:srgbClr val="FFFFFF"/>
                </a:solidFill>
              </a:rPr>
              <a:t>Friendly</a:t>
            </a:r>
            <a:r>
              <a:rPr lang="fr-CH" sz="2800" b="0" i="1" spc="-10" dirty="0">
                <a:solidFill>
                  <a:srgbClr val="FFFFFF"/>
                </a:solidFill>
              </a:rPr>
              <a:t> Work </a:t>
            </a:r>
            <a:r>
              <a:rPr lang="fr-CH" sz="2800" b="0" i="1" spc="-10" dirty="0" err="1">
                <a:solidFill>
                  <a:srgbClr val="FFFFFF"/>
                </a:solidFill>
              </a:rPr>
              <a:t>space</a:t>
            </a:r>
            <a:br>
              <a:rPr lang="fr-CH" sz="2800" b="0" i="1" spc="-10" dirty="0">
                <a:solidFill>
                  <a:srgbClr val="FFFFFF"/>
                </a:solidFill>
              </a:rPr>
            </a:br>
            <a:br>
              <a:rPr lang="fr-CH" sz="8250" spc="-10" dirty="0">
                <a:solidFill>
                  <a:srgbClr val="FFFFFF"/>
                </a:solidFill>
              </a:rPr>
            </a:br>
            <a:r>
              <a:rPr lang="fr-CH" sz="3200" spc="-10" dirty="0">
                <a:solidFill>
                  <a:srgbClr val="FFFFFF"/>
                </a:solidFill>
              </a:rPr>
              <a:t>21 novembre 2025</a:t>
            </a:r>
            <a:endParaRPr sz="8250" dirty="0"/>
          </a:p>
        </p:txBody>
      </p:sp>
      <p:grpSp>
        <p:nvGrpSpPr>
          <p:cNvPr id="322" name="object 322"/>
          <p:cNvGrpSpPr/>
          <p:nvPr/>
        </p:nvGrpSpPr>
        <p:grpSpPr>
          <a:xfrm>
            <a:off x="13371676" y="9706510"/>
            <a:ext cx="2994025" cy="1602105"/>
            <a:chOff x="13371676" y="9706510"/>
            <a:chExt cx="2994025" cy="1602105"/>
          </a:xfrm>
        </p:grpSpPr>
        <p:sp>
          <p:nvSpPr>
            <p:cNvPr id="323" name="object 323"/>
            <p:cNvSpPr/>
            <p:nvPr/>
          </p:nvSpPr>
          <p:spPr>
            <a:xfrm>
              <a:off x="13371676" y="9706510"/>
              <a:ext cx="2994025" cy="1602105"/>
            </a:xfrm>
            <a:custGeom>
              <a:avLst/>
              <a:gdLst/>
              <a:ahLst/>
              <a:cxnLst/>
              <a:rect l="l" t="t" r="r" b="b"/>
              <a:pathLst>
                <a:path w="2994025" h="1602104">
                  <a:moveTo>
                    <a:pt x="2993950" y="0"/>
                  </a:moveTo>
                  <a:lnTo>
                    <a:pt x="0" y="0"/>
                  </a:lnTo>
                  <a:lnTo>
                    <a:pt x="0" y="1602045"/>
                  </a:lnTo>
                  <a:lnTo>
                    <a:pt x="2993950" y="1602045"/>
                  </a:lnTo>
                  <a:lnTo>
                    <a:pt x="299395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4" name="object 324"/>
            <p:cNvSpPr/>
            <p:nvPr/>
          </p:nvSpPr>
          <p:spPr>
            <a:xfrm>
              <a:off x="13688010" y="10015505"/>
              <a:ext cx="2382520" cy="437515"/>
            </a:xfrm>
            <a:custGeom>
              <a:avLst/>
              <a:gdLst/>
              <a:ahLst/>
              <a:cxnLst/>
              <a:rect l="l" t="t" r="r" b="b"/>
              <a:pathLst>
                <a:path w="2382519" h="437515">
                  <a:moveTo>
                    <a:pt x="480225" y="8115"/>
                  </a:moveTo>
                  <a:lnTo>
                    <a:pt x="347014" y="8115"/>
                  </a:lnTo>
                  <a:lnTo>
                    <a:pt x="243332" y="245935"/>
                  </a:lnTo>
                  <a:lnTo>
                    <a:pt x="144246" y="8115"/>
                  </a:lnTo>
                  <a:lnTo>
                    <a:pt x="0" y="8115"/>
                  </a:lnTo>
                  <a:lnTo>
                    <a:pt x="0" y="429247"/>
                  </a:lnTo>
                  <a:lnTo>
                    <a:pt x="107772" y="429247"/>
                  </a:lnTo>
                  <a:lnTo>
                    <a:pt x="107772" y="186118"/>
                  </a:lnTo>
                  <a:lnTo>
                    <a:pt x="210299" y="429247"/>
                  </a:lnTo>
                  <a:lnTo>
                    <a:pt x="268211" y="429247"/>
                  </a:lnTo>
                  <a:lnTo>
                    <a:pt x="372491" y="186118"/>
                  </a:lnTo>
                  <a:lnTo>
                    <a:pt x="372491" y="429247"/>
                  </a:lnTo>
                  <a:lnTo>
                    <a:pt x="480225" y="429247"/>
                  </a:lnTo>
                  <a:lnTo>
                    <a:pt x="480225" y="8115"/>
                  </a:lnTo>
                  <a:close/>
                </a:path>
                <a:path w="2382519" h="437515">
                  <a:moveTo>
                    <a:pt x="671372" y="16497"/>
                  </a:moveTo>
                  <a:lnTo>
                    <a:pt x="667245" y="16497"/>
                  </a:lnTo>
                  <a:lnTo>
                    <a:pt x="667245" y="7607"/>
                  </a:lnTo>
                  <a:lnTo>
                    <a:pt x="563105" y="7607"/>
                  </a:lnTo>
                  <a:lnTo>
                    <a:pt x="563105" y="16497"/>
                  </a:lnTo>
                  <a:lnTo>
                    <a:pt x="563105" y="429247"/>
                  </a:lnTo>
                  <a:lnTo>
                    <a:pt x="671372" y="429247"/>
                  </a:lnTo>
                  <a:lnTo>
                    <a:pt x="671372" y="16497"/>
                  </a:lnTo>
                  <a:close/>
                </a:path>
                <a:path w="2382519" h="437515">
                  <a:moveTo>
                    <a:pt x="1124191" y="205955"/>
                  </a:moveTo>
                  <a:lnTo>
                    <a:pt x="1123061" y="198589"/>
                  </a:lnTo>
                  <a:lnTo>
                    <a:pt x="1119759" y="192481"/>
                  </a:lnTo>
                  <a:lnTo>
                    <a:pt x="1114425" y="188315"/>
                  </a:lnTo>
                  <a:lnTo>
                    <a:pt x="1107224" y="186778"/>
                  </a:lnTo>
                  <a:lnTo>
                    <a:pt x="970343" y="186778"/>
                  </a:lnTo>
                  <a:lnTo>
                    <a:pt x="970343" y="272821"/>
                  </a:lnTo>
                  <a:lnTo>
                    <a:pt x="1022489" y="272821"/>
                  </a:lnTo>
                  <a:lnTo>
                    <a:pt x="1022489" y="347040"/>
                  </a:lnTo>
                  <a:lnTo>
                    <a:pt x="1011097" y="348411"/>
                  </a:lnTo>
                  <a:lnTo>
                    <a:pt x="999045" y="349262"/>
                  </a:lnTo>
                  <a:lnTo>
                    <a:pt x="986955" y="349707"/>
                  </a:lnTo>
                  <a:lnTo>
                    <a:pt x="975512" y="349834"/>
                  </a:lnTo>
                  <a:lnTo>
                    <a:pt x="922997" y="340702"/>
                  </a:lnTo>
                  <a:lnTo>
                    <a:pt x="884707" y="314515"/>
                  </a:lnTo>
                  <a:lnTo>
                    <a:pt x="861288" y="273062"/>
                  </a:lnTo>
                  <a:lnTo>
                    <a:pt x="853351" y="218122"/>
                  </a:lnTo>
                  <a:lnTo>
                    <a:pt x="860374" y="165849"/>
                  </a:lnTo>
                  <a:lnTo>
                    <a:pt x="881799" y="125133"/>
                  </a:lnTo>
                  <a:lnTo>
                    <a:pt x="918095" y="98691"/>
                  </a:lnTo>
                  <a:lnTo>
                    <a:pt x="969746" y="89268"/>
                  </a:lnTo>
                  <a:lnTo>
                    <a:pt x="992809" y="90932"/>
                  </a:lnTo>
                  <a:lnTo>
                    <a:pt x="1018197" y="95580"/>
                  </a:lnTo>
                  <a:lnTo>
                    <a:pt x="1043825" y="102717"/>
                  </a:lnTo>
                  <a:lnTo>
                    <a:pt x="1067650" y="111836"/>
                  </a:lnTo>
                  <a:lnTo>
                    <a:pt x="1110081" y="39395"/>
                  </a:lnTo>
                  <a:lnTo>
                    <a:pt x="1080960" y="23469"/>
                  </a:lnTo>
                  <a:lnTo>
                    <a:pt x="1045819" y="11010"/>
                  </a:lnTo>
                  <a:lnTo>
                    <a:pt x="1005700" y="2908"/>
                  </a:lnTo>
                  <a:lnTo>
                    <a:pt x="961707" y="12"/>
                  </a:lnTo>
                  <a:lnTo>
                    <a:pt x="912596" y="4089"/>
                  </a:lnTo>
                  <a:lnTo>
                    <a:pt x="868972" y="15963"/>
                  </a:lnTo>
                  <a:lnTo>
                    <a:pt x="831176" y="35052"/>
                  </a:lnTo>
                  <a:lnTo>
                    <a:pt x="799541" y="60744"/>
                  </a:lnTo>
                  <a:lnTo>
                    <a:pt x="774357" y="92481"/>
                  </a:lnTo>
                  <a:lnTo>
                    <a:pt x="755980" y="129679"/>
                  </a:lnTo>
                  <a:lnTo>
                    <a:pt x="744702" y="171754"/>
                  </a:lnTo>
                  <a:lnTo>
                    <a:pt x="740879" y="218122"/>
                  </a:lnTo>
                  <a:lnTo>
                    <a:pt x="744740" y="269024"/>
                  </a:lnTo>
                  <a:lnTo>
                    <a:pt x="756272" y="313334"/>
                  </a:lnTo>
                  <a:lnTo>
                    <a:pt x="775360" y="350989"/>
                  </a:lnTo>
                  <a:lnTo>
                    <a:pt x="801916" y="381927"/>
                  </a:lnTo>
                  <a:lnTo>
                    <a:pt x="835825" y="406095"/>
                  </a:lnTo>
                  <a:lnTo>
                    <a:pt x="876998" y="423443"/>
                  </a:lnTo>
                  <a:lnTo>
                    <a:pt x="925334" y="433895"/>
                  </a:lnTo>
                  <a:lnTo>
                    <a:pt x="980732" y="437388"/>
                  </a:lnTo>
                  <a:lnTo>
                    <a:pt x="1016596" y="436435"/>
                  </a:lnTo>
                  <a:lnTo>
                    <a:pt x="1054785" y="433692"/>
                  </a:lnTo>
                  <a:lnTo>
                    <a:pt x="1091806" y="429336"/>
                  </a:lnTo>
                  <a:lnTo>
                    <a:pt x="1124191" y="423545"/>
                  </a:lnTo>
                  <a:lnTo>
                    <a:pt x="1124191" y="205955"/>
                  </a:lnTo>
                  <a:close/>
                </a:path>
                <a:path w="2382519" h="437515">
                  <a:moveTo>
                    <a:pt x="1557705" y="429247"/>
                  </a:moveTo>
                  <a:lnTo>
                    <a:pt x="1509572" y="307708"/>
                  </a:lnTo>
                  <a:lnTo>
                    <a:pt x="1497698" y="283197"/>
                  </a:lnTo>
                  <a:lnTo>
                    <a:pt x="1494104" y="278015"/>
                  </a:lnTo>
                  <a:lnTo>
                    <a:pt x="1482712" y="261569"/>
                  </a:lnTo>
                  <a:lnTo>
                    <a:pt x="1465656" y="244729"/>
                  </a:lnTo>
                  <a:lnTo>
                    <a:pt x="1447609" y="234581"/>
                  </a:lnTo>
                  <a:lnTo>
                    <a:pt x="1479816" y="220713"/>
                  </a:lnTo>
                  <a:lnTo>
                    <a:pt x="1503222" y="196164"/>
                  </a:lnTo>
                  <a:lnTo>
                    <a:pt x="1503807" y="194868"/>
                  </a:lnTo>
                  <a:lnTo>
                    <a:pt x="1517484" y="164642"/>
                  </a:lnTo>
                  <a:lnTo>
                    <a:pt x="1516265" y="89268"/>
                  </a:lnTo>
                  <a:lnTo>
                    <a:pt x="1492618" y="41694"/>
                  </a:lnTo>
                  <a:lnTo>
                    <a:pt x="1459674" y="20764"/>
                  </a:lnTo>
                  <a:lnTo>
                    <a:pt x="1420964" y="11353"/>
                  </a:lnTo>
                  <a:lnTo>
                    <a:pt x="1420964" y="137960"/>
                  </a:lnTo>
                  <a:lnTo>
                    <a:pt x="1416570" y="163741"/>
                  </a:lnTo>
                  <a:lnTo>
                    <a:pt x="1404556" y="181432"/>
                  </a:lnTo>
                  <a:lnTo>
                    <a:pt x="1386611" y="191604"/>
                  </a:lnTo>
                  <a:lnTo>
                    <a:pt x="1364424" y="194868"/>
                  </a:lnTo>
                  <a:lnTo>
                    <a:pt x="1311452" y="194868"/>
                  </a:lnTo>
                  <a:lnTo>
                    <a:pt x="1311452" y="89268"/>
                  </a:lnTo>
                  <a:lnTo>
                    <a:pt x="1364424" y="89268"/>
                  </a:lnTo>
                  <a:lnTo>
                    <a:pt x="1386611" y="91173"/>
                  </a:lnTo>
                  <a:lnTo>
                    <a:pt x="1404556" y="98399"/>
                  </a:lnTo>
                  <a:lnTo>
                    <a:pt x="1416570" y="113233"/>
                  </a:lnTo>
                  <a:lnTo>
                    <a:pt x="1420964" y="137960"/>
                  </a:lnTo>
                  <a:lnTo>
                    <a:pt x="1420964" y="11353"/>
                  </a:lnTo>
                  <a:lnTo>
                    <a:pt x="1418386" y="10718"/>
                  </a:lnTo>
                  <a:lnTo>
                    <a:pt x="1371523" y="8140"/>
                  </a:lnTo>
                  <a:lnTo>
                    <a:pt x="1215212" y="8140"/>
                  </a:lnTo>
                  <a:lnTo>
                    <a:pt x="1205611" y="16230"/>
                  </a:lnTo>
                  <a:lnTo>
                    <a:pt x="1205611" y="429247"/>
                  </a:lnTo>
                  <a:lnTo>
                    <a:pt x="1311452" y="429247"/>
                  </a:lnTo>
                  <a:lnTo>
                    <a:pt x="1311452" y="278015"/>
                  </a:lnTo>
                  <a:lnTo>
                    <a:pt x="1355255" y="278015"/>
                  </a:lnTo>
                  <a:lnTo>
                    <a:pt x="1394244" y="313321"/>
                  </a:lnTo>
                  <a:lnTo>
                    <a:pt x="1444180" y="429247"/>
                  </a:lnTo>
                  <a:lnTo>
                    <a:pt x="1557705" y="429247"/>
                  </a:lnTo>
                  <a:close/>
                </a:path>
                <a:path w="2382519" h="437515">
                  <a:moveTo>
                    <a:pt x="1993874" y="218122"/>
                  </a:moveTo>
                  <a:lnTo>
                    <a:pt x="1989455" y="168021"/>
                  </a:lnTo>
                  <a:lnTo>
                    <a:pt x="1976386" y="122072"/>
                  </a:lnTo>
                  <a:lnTo>
                    <a:pt x="1954961" y="81572"/>
                  </a:lnTo>
                  <a:lnTo>
                    <a:pt x="1925485" y="47828"/>
                  </a:lnTo>
                  <a:lnTo>
                    <a:pt x="1888248" y="22123"/>
                  </a:lnTo>
                  <a:lnTo>
                    <a:pt x="1880285" y="19215"/>
                  </a:lnTo>
                  <a:lnTo>
                    <a:pt x="1880285" y="218122"/>
                  </a:lnTo>
                  <a:lnTo>
                    <a:pt x="1873288" y="276237"/>
                  </a:lnTo>
                  <a:lnTo>
                    <a:pt x="1854250" y="316725"/>
                  </a:lnTo>
                  <a:lnTo>
                    <a:pt x="1826082" y="340423"/>
                  </a:lnTo>
                  <a:lnTo>
                    <a:pt x="1791677" y="348145"/>
                  </a:lnTo>
                  <a:lnTo>
                    <a:pt x="1752536" y="340423"/>
                  </a:lnTo>
                  <a:lnTo>
                    <a:pt x="1721777" y="316725"/>
                  </a:lnTo>
                  <a:lnTo>
                    <a:pt x="1701660" y="276237"/>
                  </a:lnTo>
                  <a:lnTo>
                    <a:pt x="1694446" y="218122"/>
                  </a:lnTo>
                  <a:lnTo>
                    <a:pt x="1701660" y="160756"/>
                  </a:lnTo>
                  <a:lnTo>
                    <a:pt x="1721777" y="120599"/>
                  </a:lnTo>
                  <a:lnTo>
                    <a:pt x="1752536" y="96989"/>
                  </a:lnTo>
                  <a:lnTo>
                    <a:pt x="1791677" y="89268"/>
                  </a:lnTo>
                  <a:lnTo>
                    <a:pt x="1826082" y="96989"/>
                  </a:lnTo>
                  <a:lnTo>
                    <a:pt x="1854250" y="120599"/>
                  </a:lnTo>
                  <a:lnTo>
                    <a:pt x="1873288" y="160756"/>
                  </a:lnTo>
                  <a:lnTo>
                    <a:pt x="1880285" y="218122"/>
                  </a:lnTo>
                  <a:lnTo>
                    <a:pt x="1880285" y="19215"/>
                  </a:lnTo>
                  <a:lnTo>
                    <a:pt x="1843557" y="5740"/>
                  </a:lnTo>
                  <a:lnTo>
                    <a:pt x="1791677" y="0"/>
                  </a:lnTo>
                  <a:lnTo>
                    <a:pt x="1736585" y="5740"/>
                  </a:lnTo>
                  <a:lnTo>
                    <a:pt x="1689582" y="22123"/>
                  </a:lnTo>
                  <a:lnTo>
                    <a:pt x="1650809" y="47828"/>
                  </a:lnTo>
                  <a:lnTo>
                    <a:pt x="1620418" y="81572"/>
                  </a:lnTo>
                  <a:lnTo>
                    <a:pt x="1598523" y="122072"/>
                  </a:lnTo>
                  <a:lnTo>
                    <a:pt x="1585290" y="168021"/>
                  </a:lnTo>
                  <a:lnTo>
                    <a:pt x="1580845" y="218122"/>
                  </a:lnTo>
                  <a:lnTo>
                    <a:pt x="1584248" y="262547"/>
                  </a:lnTo>
                  <a:lnTo>
                    <a:pt x="1594396" y="303809"/>
                  </a:lnTo>
                  <a:lnTo>
                    <a:pt x="1611198" y="341071"/>
                  </a:lnTo>
                  <a:lnTo>
                    <a:pt x="1634553" y="373468"/>
                  </a:lnTo>
                  <a:lnTo>
                    <a:pt x="1664373" y="400151"/>
                  </a:lnTo>
                  <a:lnTo>
                    <a:pt x="1700568" y="420268"/>
                  </a:lnTo>
                  <a:lnTo>
                    <a:pt x="1743036" y="432968"/>
                  </a:lnTo>
                  <a:lnTo>
                    <a:pt x="1791677" y="437388"/>
                  </a:lnTo>
                  <a:lnTo>
                    <a:pt x="1843557" y="431634"/>
                  </a:lnTo>
                  <a:lnTo>
                    <a:pt x="1888248" y="415239"/>
                  </a:lnTo>
                  <a:lnTo>
                    <a:pt x="1925485" y="389470"/>
                  </a:lnTo>
                  <a:lnTo>
                    <a:pt x="1954961" y="355600"/>
                  </a:lnTo>
                  <a:lnTo>
                    <a:pt x="1976386" y="314896"/>
                  </a:lnTo>
                  <a:lnTo>
                    <a:pt x="1989455" y="268655"/>
                  </a:lnTo>
                  <a:lnTo>
                    <a:pt x="1993874" y="218122"/>
                  </a:lnTo>
                  <a:close/>
                </a:path>
                <a:path w="2382519" h="437515">
                  <a:moveTo>
                    <a:pt x="2381910" y="290817"/>
                  </a:moveTo>
                  <a:lnTo>
                    <a:pt x="2372245" y="247383"/>
                  </a:lnTo>
                  <a:lnTo>
                    <a:pt x="2346833" y="216255"/>
                  </a:lnTo>
                  <a:lnTo>
                    <a:pt x="2311019" y="194386"/>
                  </a:lnTo>
                  <a:lnTo>
                    <a:pt x="2270150" y="178739"/>
                  </a:lnTo>
                  <a:lnTo>
                    <a:pt x="2229586" y="166255"/>
                  </a:lnTo>
                  <a:lnTo>
                    <a:pt x="2203996" y="157835"/>
                  </a:lnTo>
                  <a:lnTo>
                    <a:pt x="2183219" y="148374"/>
                  </a:lnTo>
                  <a:lnTo>
                    <a:pt x="2169274" y="136855"/>
                  </a:lnTo>
                  <a:lnTo>
                    <a:pt x="2164181" y="122313"/>
                  </a:lnTo>
                  <a:lnTo>
                    <a:pt x="2168334" y="107188"/>
                  </a:lnTo>
                  <a:lnTo>
                    <a:pt x="2180450" y="95440"/>
                  </a:lnTo>
                  <a:lnTo>
                    <a:pt x="2200059" y="87820"/>
                  </a:lnTo>
                  <a:lnTo>
                    <a:pt x="2226665" y="85115"/>
                  </a:lnTo>
                  <a:lnTo>
                    <a:pt x="2250884" y="87490"/>
                  </a:lnTo>
                  <a:lnTo>
                    <a:pt x="2274036" y="93992"/>
                  </a:lnTo>
                  <a:lnTo>
                    <a:pt x="2296401" y="103746"/>
                  </a:lnTo>
                  <a:lnTo>
                    <a:pt x="2318270" y="115811"/>
                  </a:lnTo>
                  <a:lnTo>
                    <a:pt x="2376716" y="49263"/>
                  </a:lnTo>
                  <a:lnTo>
                    <a:pt x="2352154" y="30822"/>
                  </a:lnTo>
                  <a:lnTo>
                    <a:pt x="2318994" y="15087"/>
                  </a:lnTo>
                  <a:lnTo>
                    <a:pt x="2278202" y="4127"/>
                  </a:lnTo>
                  <a:lnTo>
                    <a:pt x="2230767" y="12"/>
                  </a:lnTo>
                  <a:lnTo>
                    <a:pt x="2182050" y="4064"/>
                  </a:lnTo>
                  <a:lnTo>
                    <a:pt x="2138781" y="16040"/>
                  </a:lnTo>
                  <a:lnTo>
                    <a:pt x="2102485" y="35648"/>
                  </a:lnTo>
                  <a:lnTo>
                    <a:pt x="2074684" y="62598"/>
                  </a:lnTo>
                  <a:lnTo>
                    <a:pt x="2056892" y="96596"/>
                  </a:lnTo>
                  <a:lnTo>
                    <a:pt x="2050618" y="137363"/>
                  </a:lnTo>
                  <a:lnTo>
                    <a:pt x="2062619" y="188683"/>
                  </a:lnTo>
                  <a:lnTo>
                    <a:pt x="2093595" y="223164"/>
                  </a:lnTo>
                  <a:lnTo>
                    <a:pt x="2135949" y="245605"/>
                  </a:lnTo>
                  <a:lnTo>
                    <a:pt x="2182139" y="260731"/>
                  </a:lnTo>
                  <a:lnTo>
                    <a:pt x="2217242" y="270852"/>
                  </a:lnTo>
                  <a:lnTo>
                    <a:pt x="2245372" y="281203"/>
                  </a:lnTo>
                  <a:lnTo>
                    <a:pt x="2264067" y="294182"/>
                  </a:lnTo>
                  <a:lnTo>
                    <a:pt x="2270849" y="312153"/>
                  </a:lnTo>
                  <a:lnTo>
                    <a:pt x="2265057" y="330428"/>
                  </a:lnTo>
                  <a:lnTo>
                    <a:pt x="2250287" y="341198"/>
                  </a:lnTo>
                  <a:lnTo>
                    <a:pt x="2230412" y="346303"/>
                  </a:lnTo>
                  <a:lnTo>
                    <a:pt x="2209330" y="347599"/>
                  </a:lnTo>
                  <a:lnTo>
                    <a:pt x="2172995" y="343446"/>
                  </a:lnTo>
                  <a:lnTo>
                    <a:pt x="2137892" y="333108"/>
                  </a:lnTo>
                  <a:lnTo>
                    <a:pt x="2106790" y="319735"/>
                  </a:lnTo>
                  <a:lnTo>
                    <a:pt x="2082419" y="306476"/>
                  </a:lnTo>
                  <a:lnTo>
                    <a:pt x="2034425" y="391604"/>
                  </a:lnTo>
                  <a:lnTo>
                    <a:pt x="2062911" y="407314"/>
                  </a:lnTo>
                  <a:lnTo>
                    <a:pt x="2102192" y="422097"/>
                  </a:lnTo>
                  <a:lnTo>
                    <a:pt x="2149284" y="433082"/>
                  </a:lnTo>
                  <a:lnTo>
                    <a:pt x="2201227" y="437388"/>
                  </a:lnTo>
                  <a:lnTo>
                    <a:pt x="2253234" y="432562"/>
                  </a:lnTo>
                  <a:lnTo>
                    <a:pt x="2297506" y="418693"/>
                  </a:lnTo>
                  <a:lnTo>
                    <a:pt x="2333282" y="396684"/>
                  </a:lnTo>
                  <a:lnTo>
                    <a:pt x="2359787" y="367436"/>
                  </a:lnTo>
                  <a:lnTo>
                    <a:pt x="2376246" y="331851"/>
                  </a:lnTo>
                  <a:lnTo>
                    <a:pt x="2381910" y="290817"/>
                  </a:lnTo>
                  <a:close/>
                </a:path>
              </a:pathLst>
            </a:custGeom>
            <a:solidFill>
              <a:srgbClr val="FF66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5" name="object 325"/>
            <p:cNvSpPr/>
            <p:nvPr/>
          </p:nvSpPr>
          <p:spPr>
            <a:xfrm>
              <a:off x="13669722" y="10474077"/>
              <a:ext cx="2173605" cy="514984"/>
            </a:xfrm>
            <a:custGeom>
              <a:avLst/>
              <a:gdLst/>
              <a:ahLst/>
              <a:cxnLst/>
              <a:rect l="l" t="t" r="r" b="b"/>
              <a:pathLst>
                <a:path w="2173605" h="514984">
                  <a:moveTo>
                    <a:pt x="368325" y="266484"/>
                  </a:moveTo>
                  <a:lnTo>
                    <a:pt x="204343" y="266484"/>
                  </a:lnTo>
                  <a:lnTo>
                    <a:pt x="204343" y="351447"/>
                  </a:lnTo>
                  <a:lnTo>
                    <a:pt x="266471" y="351447"/>
                  </a:lnTo>
                  <a:lnTo>
                    <a:pt x="266471" y="423786"/>
                  </a:lnTo>
                  <a:lnTo>
                    <a:pt x="259943" y="425183"/>
                  </a:lnTo>
                  <a:lnTo>
                    <a:pt x="251421" y="426351"/>
                  </a:lnTo>
                  <a:lnTo>
                    <a:pt x="241084" y="427139"/>
                  </a:lnTo>
                  <a:lnTo>
                    <a:pt x="229082" y="427418"/>
                  </a:lnTo>
                  <a:lnTo>
                    <a:pt x="179235" y="418769"/>
                  </a:lnTo>
                  <a:lnTo>
                    <a:pt x="141554" y="393979"/>
                  </a:lnTo>
                  <a:lnTo>
                    <a:pt x="117716" y="354787"/>
                  </a:lnTo>
                  <a:lnTo>
                    <a:pt x="109397" y="302958"/>
                  </a:lnTo>
                  <a:lnTo>
                    <a:pt x="118008" y="251294"/>
                  </a:lnTo>
                  <a:lnTo>
                    <a:pt x="142875" y="212661"/>
                  </a:lnTo>
                  <a:lnTo>
                    <a:pt x="182575" y="188442"/>
                  </a:lnTo>
                  <a:lnTo>
                    <a:pt x="235648" y="180060"/>
                  </a:lnTo>
                  <a:lnTo>
                    <a:pt x="266661" y="181495"/>
                  </a:lnTo>
                  <a:lnTo>
                    <a:pt x="291223" y="185242"/>
                  </a:lnTo>
                  <a:lnTo>
                    <a:pt x="310680" y="190525"/>
                  </a:lnTo>
                  <a:lnTo>
                    <a:pt x="326326" y="196545"/>
                  </a:lnTo>
                  <a:lnTo>
                    <a:pt x="333844" y="199796"/>
                  </a:lnTo>
                  <a:lnTo>
                    <a:pt x="356387" y="113411"/>
                  </a:lnTo>
                  <a:lnTo>
                    <a:pt x="306285" y="97307"/>
                  </a:lnTo>
                  <a:lnTo>
                    <a:pt x="236423" y="90944"/>
                  </a:lnTo>
                  <a:lnTo>
                    <a:pt x="185178" y="94856"/>
                  </a:lnTo>
                  <a:lnTo>
                    <a:pt x="139153" y="106286"/>
                  </a:lnTo>
                  <a:lnTo>
                    <a:pt x="98831" y="124790"/>
                  </a:lnTo>
                  <a:lnTo>
                    <a:pt x="64693" y="149910"/>
                  </a:lnTo>
                  <a:lnTo>
                    <a:pt x="37261" y="181203"/>
                  </a:lnTo>
                  <a:lnTo>
                    <a:pt x="17005" y="218211"/>
                  </a:lnTo>
                  <a:lnTo>
                    <a:pt x="4419" y="260489"/>
                  </a:lnTo>
                  <a:lnTo>
                    <a:pt x="0" y="307581"/>
                  </a:lnTo>
                  <a:lnTo>
                    <a:pt x="3733" y="352018"/>
                  </a:lnTo>
                  <a:lnTo>
                    <a:pt x="15036" y="392684"/>
                  </a:lnTo>
                  <a:lnTo>
                    <a:pt x="33578" y="428625"/>
                  </a:lnTo>
                  <a:lnTo>
                    <a:pt x="58953" y="458927"/>
                  </a:lnTo>
                  <a:lnTo>
                    <a:pt x="91351" y="483527"/>
                  </a:lnTo>
                  <a:lnTo>
                    <a:pt x="129984" y="500964"/>
                  </a:lnTo>
                  <a:lnTo>
                    <a:pt x="175158" y="511352"/>
                  </a:lnTo>
                  <a:lnTo>
                    <a:pt x="227164" y="514794"/>
                  </a:lnTo>
                  <a:lnTo>
                    <a:pt x="265722" y="512762"/>
                  </a:lnTo>
                  <a:lnTo>
                    <a:pt x="302666" y="507479"/>
                  </a:lnTo>
                  <a:lnTo>
                    <a:pt x="335965" y="500100"/>
                  </a:lnTo>
                  <a:lnTo>
                    <a:pt x="363575" y="491845"/>
                  </a:lnTo>
                  <a:lnTo>
                    <a:pt x="368325" y="490181"/>
                  </a:lnTo>
                  <a:lnTo>
                    <a:pt x="368325" y="266484"/>
                  </a:lnTo>
                  <a:close/>
                </a:path>
                <a:path w="2173605" h="514984">
                  <a:moveTo>
                    <a:pt x="704773" y="422122"/>
                  </a:moveTo>
                  <a:lnTo>
                    <a:pt x="539534" y="422122"/>
                  </a:lnTo>
                  <a:lnTo>
                    <a:pt x="539534" y="340842"/>
                  </a:lnTo>
                  <a:lnTo>
                    <a:pt x="687374" y="340842"/>
                  </a:lnTo>
                  <a:lnTo>
                    <a:pt x="687374" y="253212"/>
                  </a:lnTo>
                  <a:lnTo>
                    <a:pt x="539534" y="253212"/>
                  </a:lnTo>
                  <a:lnTo>
                    <a:pt x="539534" y="183362"/>
                  </a:lnTo>
                  <a:lnTo>
                    <a:pt x="696201" y="183362"/>
                  </a:lnTo>
                  <a:lnTo>
                    <a:pt x="696201" y="94462"/>
                  </a:lnTo>
                  <a:lnTo>
                    <a:pt x="434632" y="94462"/>
                  </a:lnTo>
                  <a:lnTo>
                    <a:pt x="434632" y="183362"/>
                  </a:lnTo>
                  <a:lnTo>
                    <a:pt x="434632" y="253212"/>
                  </a:lnTo>
                  <a:lnTo>
                    <a:pt x="434632" y="340842"/>
                  </a:lnTo>
                  <a:lnTo>
                    <a:pt x="434632" y="422122"/>
                  </a:lnTo>
                  <a:lnTo>
                    <a:pt x="434632" y="511022"/>
                  </a:lnTo>
                  <a:lnTo>
                    <a:pt x="704773" y="511022"/>
                  </a:lnTo>
                  <a:lnTo>
                    <a:pt x="704773" y="422122"/>
                  </a:lnTo>
                  <a:close/>
                </a:path>
                <a:path w="2173605" h="514984">
                  <a:moveTo>
                    <a:pt x="1108811" y="94970"/>
                  </a:moveTo>
                  <a:lnTo>
                    <a:pt x="1011326" y="94970"/>
                  </a:lnTo>
                  <a:lnTo>
                    <a:pt x="1011326" y="219138"/>
                  </a:lnTo>
                  <a:lnTo>
                    <a:pt x="1011555" y="254876"/>
                  </a:lnTo>
                  <a:lnTo>
                    <a:pt x="1012253" y="287870"/>
                  </a:lnTo>
                  <a:lnTo>
                    <a:pt x="1013447" y="318566"/>
                  </a:lnTo>
                  <a:lnTo>
                    <a:pt x="1015161" y="347408"/>
                  </a:lnTo>
                  <a:lnTo>
                    <a:pt x="1002944" y="320408"/>
                  </a:lnTo>
                  <a:lnTo>
                    <a:pt x="990295" y="294157"/>
                  </a:lnTo>
                  <a:lnTo>
                    <a:pt x="977455" y="269151"/>
                  </a:lnTo>
                  <a:lnTo>
                    <a:pt x="964666" y="245884"/>
                  </a:lnTo>
                  <a:lnTo>
                    <a:pt x="879233" y="94970"/>
                  </a:lnTo>
                  <a:lnTo>
                    <a:pt x="762279" y="94970"/>
                  </a:lnTo>
                  <a:lnTo>
                    <a:pt x="762279" y="510743"/>
                  </a:lnTo>
                  <a:lnTo>
                    <a:pt x="859739" y="510743"/>
                  </a:lnTo>
                  <a:lnTo>
                    <a:pt x="859739" y="382955"/>
                  </a:lnTo>
                  <a:lnTo>
                    <a:pt x="859586" y="343560"/>
                  </a:lnTo>
                  <a:lnTo>
                    <a:pt x="858380" y="272440"/>
                  </a:lnTo>
                  <a:lnTo>
                    <a:pt x="857313" y="239953"/>
                  </a:lnTo>
                  <a:lnTo>
                    <a:pt x="871969" y="271094"/>
                  </a:lnTo>
                  <a:lnTo>
                    <a:pt x="886866" y="300901"/>
                  </a:lnTo>
                  <a:lnTo>
                    <a:pt x="901255" y="328345"/>
                  </a:lnTo>
                  <a:lnTo>
                    <a:pt x="914361" y="352437"/>
                  </a:lnTo>
                  <a:lnTo>
                    <a:pt x="1002474" y="510743"/>
                  </a:lnTo>
                  <a:lnTo>
                    <a:pt x="1108811" y="510743"/>
                  </a:lnTo>
                  <a:lnTo>
                    <a:pt x="1108811" y="94970"/>
                  </a:lnTo>
                  <a:close/>
                </a:path>
                <a:path w="2173605" h="514984">
                  <a:moveTo>
                    <a:pt x="1375359" y="86563"/>
                  </a:moveTo>
                  <a:lnTo>
                    <a:pt x="1315339" y="0"/>
                  </a:lnTo>
                  <a:lnTo>
                    <a:pt x="1199172" y="0"/>
                  </a:lnTo>
                  <a:lnTo>
                    <a:pt x="1286319" y="86563"/>
                  </a:lnTo>
                  <a:lnTo>
                    <a:pt x="1375359" y="86563"/>
                  </a:lnTo>
                  <a:close/>
                </a:path>
                <a:path w="2173605" h="514984">
                  <a:moveTo>
                    <a:pt x="1452994" y="422122"/>
                  </a:moveTo>
                  <a:lnTo>
                    <a:pt x="1287754" y="422122"/>
                  </a:lnTo>
                  <a:lnTo>
                    <a:pt x="1287754" y="340842"/>
                  </a:lnTo>
                  <a:lnTo>
                    <a:pt x="1435595" y="340842"/>
                  </a:lnTo>
                  <a:lnTo>
                    <a:pt x="1435595" y="253212"/>
                  </a:lnTo>
                  <a:lnTo>
                    <a:pt x="1287754" y="253212"/>
                  </a:lnTo>
                  <a:lnTo>
                    <a:pt x="1287754" y="183362"/>
                  </a:lnTo>
                  <a:lnTo>
                    <a:pt x="1444409" y="183362"/>
                  </a:lnTo>
                  <a:lnTo>
                    <a:pt x="1444409" y="94462"/>
                  </a:lnTo>
                  <a:lnTo>
                    <a:pt x="1182839" y="94462"/>
                  </a:lnTo>
                  <a:lnTo>
                    <a:pt x="1182839" y="183362"/>
                  </a:lnTo>
                  <a:lnTo>
                    <a:pt x="1182839" y="253212"/>
                  </a:lnTo>
                  <a:lnTo>
                    <a:pt x="1182839" y="340842"/>
                  </a:lnTo>
                  <a:lnTo>
                    <a:pt x="1182839" y="422122"/>
                  </a:lnTo>
                  <a:lnTo>
                    <a:pt x="1182839" y="511022"/>
                  </a:lnTo>
                  <a:lnTo>
                    <a:pt x="1452994" y="511022"/>
                  </a:lnTo>
                  <a:lnTo>
                    <a:pt x="1452994" y="422122"/>
                  </a:lnTo>
                  <a:close/>
                </a:path>
                <a:path w="2173605" h="514984">
                  <a:moveTo>
                    <a:pt x="1867420" y="94970"/>
                  </a:moveTo>
                  <a:lnTo>
                    <a:pt x="1755724" y="94970"/>
                  </a:lnTo>
                  <a:lnTo>
                    <a:pt x="1703260" y="271513"/>
                  </a:lnTo>
                  <a:lnTo>
                    <a:pt x="1694281" y="302361"/>
                  </a:lnTo>
                  <a:lnTo>
                    <a:pt x="1686255" y="331368"/>
                  </a:lnTo>
                  <a:lnTo>
                    <a:pt x="1679092" y="358825"/>
                  </a:lnTo>
                  <a:lnTo>
                    <a:pt x="1672729" y="385025"/>
                  </a:lnTo>
                  <a:lnTo>
                    <a:pt x="1666544" y="358597"/>
                  </a:lnTo>
                  <a:lnTo>
                    <a:pt x="1659559" y="331089"/>
                  </a:lnTo>
                  <a:lnTo>
                    <a:pt x="1651584" y="301828"/>
                  </a:lnTo>
                  <a:lnTo>
                    <a:pt x="1592402" y="94970"/>
                  </a:lnTo>
                  <a:lnTo>
                    <a:pt x="1477924" y="94970"/>
                  </a:lnTo>
                  <a:lnTo>
                    <a:pt x="1611312" y="510743"/>
                  </a:lnTo>
                  <a:lnTo>
                    <a:pt x="1727619" y="510743"/>
                  </a:lnTo>
                  <a:lnTo>
                    <a:pt x="1867420" y="94970"/>
                  </a:lnTo>
                  <a:close/>
                </a:path>
                <a:path w="2173605" h="514984">
                  <a:moveTo>
                    <a:pt x="2173186" y="422249"/>
                  </a:moveTo>
                  <a:lnTo>
                    <a:pt x="2007946" y="422249"/>
                  </a:lnTo>
                  <a:lnTo>
                    <a:pt x="2007946" y="340969"/>
                  </a:lnTo>
                  <a:lnTo>
                    <a:pt x="2155787" y="340969"/>
                  </a:lnTo>
                  <a:lnTo>
                    <a:pt x="2155787" y="253339"/>
                  </a:lnTo>
                  <a:lnTo>
                    <a:pt x="2007946" y="253339"/>
                  </a:lnTo>
                  <a:lnTo>
                    <a:pt x="2007946" y="183489"/>
                  </a:lnTo>
                  <a:lnTo>
                    <a:pt x="2164613" y="183489"/>
                  </a:lnTo>
                  <a:lnTo>
                    <a:pt x="2164613" y="94589"/>
                  </a:lnTo>
                  <a:lnTo>
                    <a:pt x="1903044" y="94589"/>
                  </a:lnTo>
                  <a:lnTo>
                    <a:pt x="1903044" y="183489"/>
                  </a:lnTo>
                  <a:lnTo>
                    <a:pt x="1903044" y="253339"/>
                  </a:lnTo>
                  <a:lnTo>
                    <a:pt x="1903044" y="340969"/>
                  </a:lnTo>
                  <a:lnTo>
                    <a:pt x="1903044" y="422249"/>
                  </a:lnTo>
                  <a:lnTo>
                    <a:pt x="1903044" y="511149"/>
                  </a:lnTo>
                  <a:lnTo>
                    <a:pt x="2173186" y="511149"/>
                  </a:lnTo>
                  <a:lnTo>
                    <a:pt x="2173186" y="422249"/>
                  </a:lnTo>
                  <a:close/>
                </a:path>
              </a:pathLst>
            </a:custGeom>
            <a:solidFill>
              <a:srgbClr val="9C9B9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330" name="Grafik 329">
            <a:extLst>
              <a:ext uri="{FF2B5EF4-FFF2-40B4-BE49-F238E27FC236}">
                <a16:creationId xmlns:a16="http://schemas.microsoft.com/office/drawing/2014/main" id="{AC62FFB6-C642-79F9-9577-FD34C0A9008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23" t="24800" r="24395" b="12368"/>
          <a:stretch/>
        </p:blipFill>
        <p:spPr>
          <a:xfrm>
            <a:off x="36000" y="1728000"/>
            <a:ext cx="12060634" cy="9411056"/>
          </a:xfrm>
          <a:prstGeom prst="rect">
            <a:avLst/>
          </a:prstGeom>
          <a:effectLst/>
        </p:spPr>
      </p:pic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CF030165-5A32-0782-6BA1-3D53CE1CF615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38100">
              <a:lnSpc>
                <a:spcPts val="1650"/>
              </a:lnSpc>
            </a:pPr>
            <a:fld id="{81D60167-4931-47E6-BA6A-407CBD079E47}" type="slidenum">
              <a:rPr lang="fr-CH" spc="-25" smtClean="0"/>
              <a:t>1</a:t>
            </a:fld>
            <a:endParaRPr lang="fr-CH" spc="-25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5FC1B379-A128-71A3-90E6-9B655B9D876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9793" y="418835"/>
            <a:ext cx="1982320" cy="2091296"/>
          </a:xfrm>
          <a:prstGeom prst="flowChartConnector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think-cell data - do not delete" hidden="1">
            <a:extLst>
              <a:ext uri="{FF2B5EF4-FFF2-40B4-BE49-F238E27FC236}">
                <a16:creationId xmlns:a16="http://schemas.microsoft.com/office/drawing/2014/main" id="{2761ED41-5B05-E745-9342-3C8EAA8A5D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618" y="3015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95" imgH="396" progId="TCLayout.ActiveDocument.1">
                  <p:embed/>
                </p:oleObj>
              </mc:Choice>
              <mc:Fallback>
                <p:oleObj name="Diapositive think-cell" r:id="rId4" imgW="395" imgH="396" progId="TCLayout.ActiveDocument.1">
                  <p:embed/>
                  <p:pic>
                    <p:nvPicPr>
                      <p:cNvPr id="3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61ED41-5B05-E745-9342-3C8EAA8A5D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18" y="3015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B34821E8-B1CF-4F2C-B032-6C6854E67A42}"/>
              </a:ext>
            </a:extLst>
          </p:cNvPr>
          <p:cNvCxnSpPr>
            <a:cxnSpLocks/>
          </p:cNvCxnSpPr>
          <p:nvPr/>
        </p:nvCxnSpPr>
        <p:spPr>
          <a:xfrm>
            <a:off x="1184308" y="397"/>
            <a:ext cx="0" cy="1394316"/>
          </a:xfrm>
          <a:prstGeom prst="line">
            <a:avLst/>
          </a:prstGeom>
          <a:ln w="12700"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ZoneTexte 1">
            <a:extLst>
              <a:ext uri="{FF2B5EF4-FFF2-40B4-BE49-F238E27FC236}">
                <a16:creationId xmlns:a16="http://schemas.microsoft.com/office/drawing/2014/main" id="{E1DEC391-8BB8-4145-B912-D596485A8A3B}"/>
              </a:ext>
            </a:extLst>
          </p:cNvPr>
          <p:cNvSpPr txBox="1"/>
          <p:nvPr/>
        </p:nvSpPr>
        <p:spPr bwMode="auto">
          <a:xfrm>
            <a:off x="1487360" y="943088"/>
            <a:ext cx="17779324" cy="6309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59363" tIns="0" rIns="59363" bIns="0" rtlCol="0">
            <a:spAutoFit/>
          </a:bodyPr>
          <a:lstStyle/>
          <a:p>
            <a:pPr algn="l" defTabSz="1507846" rtl="0" fontAlgn="base">
              <a:spcBef>
                <a:spcPct val="0"/>
              </a:spcBef>
              <a:buClr>
                <a:srgbClr val="FF6600"/>
              </a:buClr>
              <a:defRPr/>
            </a:pPr>
            <a:r>
              <a:rPr lang="fr-FR" sz="4100" b="1" dirty="0">
                <a:solidFill>
                  <a:srgbClr val="2F4048"/>
                </a:solidFill>
                <a:latin typeface="Arial"/>
                <a:ea typeface="+mj-ea"/>
                <a:cs typeface="Arial"/>
              </a:rPr>
              <a:t>Parcours de la démarche </a:t>
            </a:r>
            <a:r>
              <a:rPr lang="fr-FR" sz="4100" b="1" dirty="0" err="1">
                <a:solidFill>
                  <a:srgbClr val="2F4048"/>
                </a:solidFill>
                <a:latin typeface="Arial"/>
                <a:ea typeface="+mj-ea"/>
                <a:cs typeface="Arial"/>
              </a:rPr>
              <a:t>Friendly</a:t>
            </a:r>
            <a:r>
              <a:rPr lang="fr-FR" sz="4100" b="1" dirty="0">
                <a:solidFill>
                  <a:srgbClr val="2F4048"/>
                </a:solidFill>
                <a:latin typeface="Arial"/>
                <a:ea typeface="+mj-ea"/>
                <a:cs typeface="Arial"/>
              </a:rPr>
              <a:t> Work </a:t>
            </a:r>
            <a:r>
              <a:rPr lang="fr-FR" sz="4100" b="1" dirty="0" err="1">
                <a:solidFill>
                  <a:srgbClr val="2F4048"/>
                </a:solidFill>
                <a:latin typeface="Arial"/>
                <a:ea typeface="+mj-ea"/>
                <a:cs typeface="Arial"/>
              </a:rPr>
              <a:t>Space</a:t>
            </a:r>
            <a:endParaRPr lang="fr-CH" sz="4100" b="1" dirty="0">
              <a:solidFill>
                <a:srgbClr val="2F4048"/>
              </a:solidFill>
              <a:latin typeface="Arial"/>
              <a:ea typeface="+mj-ea"/>
              <a:cs typeface="Arial"/>
            </a:endParaRPr>
          </a:p>
        </p:txBody>
      </p:sp>
      <p:sp>
        <p:nvSpPr>
          <p:cNvPr id="9" name="Espace réservé du numéro de diapositive 5">
            <a:extLst>
              <a:ext uri="{FF2B5EF4-FFF2-40B4-BE49-F238E27FC236}">
                <a16:creationId xmlns:a16="http://schemas.microsoft.com/office/drawing/2014/main" id="{93D92BB4-650F-4379-924F-D4ED9A305472}"/>
              </a:ext>
            </a:extLst>
          </p:cNvPr>
          <p:cNvSpPr txBox="1">
            <a:spLocks/>
          </p:cNvSpPr>
          <p:nvPr/>
        </p:nvSpPr>
        <p:spPr>
          <a:xfrm>
            <a:off x="19266684" y="10851166"/>
            <a:ext cx="579578" cy="20300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GB" sz="800" b="0" i="0" u="none" strike="noStrike" kern="120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1507846">
              <a:defRPr/>
            </a:pPr>
            <a:r>
              <a:rPr lang="de-CH" sz="1319">
                <a:solidFill>
                  <a:srgbClr val="FFFFFF">
                    <a:lumMod val="50000"/>
                  </a:srgbClr>
                </a:solidFill>
              </a:rPr>
              <a:t>| </a:t>
            </a:r>
            <a:fld id="{E81B8D95-AA0C-433D-B79A-00E7CF97219C}" type="slidenum">
              <a:rPr lang="de-CH" sz="1319">
                <a:solidFill>
                  <a:srgbClr val="FFFFFF">
                    <a:lumMod val="50000"/>
                  </a:srgbClr>
                </a:solidFill>
              </a:rPr>
              <a:pPr defTabSz="1507846">
                <a:defRPr/>
              </a:pPr>
              <a:t>2</a:t>
            </a:fld>
            <a:endParaRPr lang="de-CH" sz="1319">
              <a:solidFill>
                <a:srgbClr val="FFFFFF">
                  <a:lumMod val="50000"/>
                </a:srgbClr>
              </a:solidFill>
            </a:endParaRPr>
          </a:p>
        </p:txBody>
      </p:sp>
      <p:graphicFrame>
        <p:nvGraphicFramePr>
          <p:cNvPr id="6" name="Tabelle 6">
            <a:extLst>
              <a:ext uri="{FF2B5EF4-FFF2-40B4-BE49-F238E27FC236}">
                <a16:creationId xmlns:a16="http://schemas.microsoft.com/office/drawing/2014/main" id="{F78E059E-D99A-9123-E321-793BE1331E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1484307"/>
              </p:ext>
            </p:extLst>
          </p:nvPr>
        </p:nvGraphicFramePr>
        <p:xfrm>
          <a:off x="1113462" y="2384288"/>
          <a:ext cx="18990638" cy="546841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746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888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99424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3289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39532">
                <a:tc gridSpan="4">
                  <a:txBody>
                    <a:bodyPr/>
                    <a:lstStyle/>
                    <a:p>
                      <a:pPr algn="r" eaLnBrk="1"/>
                      <a:endParaRPr lang="de-CH" sz="2600" b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18725" marR="118725" marT="178088" marB="59363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CH" sz="1800" b="0"/>
                    </a:p>
                  </a:txBody>
                  <a:tcPr marL="72000" marR="72000" marT="108000" marB="10800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CH" sz="1800" b="0"/>
                    </a:p>
                  </a:txBody>
                  <a:tcPr marL="72000" marR="72000" marT="108000" marB="10800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r" eaLnBrk="1"/>
                      <a:endParaRPr lang="de-CH" sz="1600" b="0"/>
                    </a:p>
                  </a:txBody>
                  <a:tcPr marL="72000" marR="72000" marT="108000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758257">
                <a:tc>
                  <a:txBody>
                    <a:bodyPr/>
                    <a:lstStyle/>
                    <a:p>
                      <a:pPr eaLnBrk="1"/>
                      <a:endParaRPr lang="de-CH" sz="4000" b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18725" marR="118725" marT="178088" marB="1780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CH" sz="4000" b="0">
                          <a:solidFill>
                            <a:srgbClr val="2F404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118725" marR="118725" marT="178088" marB="178088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Courier New" panose="02070309020205020404" pitchFamily="49" charset="0"/>
                        <a:buNone/>
                        <a:tabLst/>
                        <a:defRPr/>
                      </a:pPr>
                      <a:r>
                        <a:rPr lang="fr-CH" sz="4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ontexte &amp; motivation</a:t>
                      </a:r>
                      <a:endParaRPr lang="fr-CH" sz="40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18725" marR="118725" marT="178088" marB="178088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eaLnBrk="1"/>
                      <a:endParaRPr lang="de-CH" sz="2600" b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18725" marR="118725" marT="178088" marB="1780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58257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e-CH" sz="4000" b="0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18725" marR="118725" marT="178088" marB="1780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CH" sz="4000" b="0" kern="1200">
                          <a:solidFill>
                            <a:srgbClr val="2F4048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118725" marR="118725" marT="178088" marB="178088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buFont typeface="Courier New" panose="02070309020205020404" pitchFamily="49" charset="0"/>
                        <a:buNone/>
                      </a:pPr>
                      <a:r>
                        <a:rPr lang="fr-CH" sz="40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pproche &amp; méthodologie</a:t>
                      </a:r>
                    </a:p>
                  </a:txBody>
                  <a:tcPr marL="118725" marR="118725" marT="178088" marB="178088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endParaRPr lang="de-CH" sz="2600" b="0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18725" marR="118725" marT="178088" marB="1780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58257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e-CH" sz="4000" b="0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18725" marR="118725" marT="178088" marB="1780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CH" sz="4000" b="0" kern="1200">
                          <a:solidFill>
                            <a:srgbClr val="2F4048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118725" marR="118725" marT="178088" marB="178088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buFont typeface="Courier New" panose="02070309020205020404" pitchFamily="49" charset="0"/>
                        <a:buNone/>
                      </a:pPr>
                      <a:r>
                        <a:rPr lang="fr-CH" sz="4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Outils &amp; mesures concrètes</a:t>
                      </a:r>
                      <a:endParaRPr lang="fr-CH" sz="40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18725" marR="118725" marT="178088" marB="178088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endParaRPr lang="de-CH" sz="2600" b="0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18725" marR="118725" marT="178088" marB="1780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58257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e-CH" sz="4000" b="0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18725" marR="118725" marT="178088" marB="1780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CH" sz="4000" b="0" kern="1200">
                          <a:solidFill>
                            <a:srgbClr val="2F4048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118725" marR="118725" marT="178088" marB="178088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buFont typeface="Courier New" panose="02070309020205020404" pitchFamily="49" charset="0"/>
                        <a:buNone/>
                      </a:pPr>
                      <a:r>
                        <a:rPr lang="fr-CH" sz="40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Résultats &amp; bénéfices</a:t>
                      </a:r>
                    </a:p>
                  </a:txBody>
                  <a:tcPr marL="118725" marR="118725" marT="178088" marB="178088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endParaRPr lang="de-CH" sz="2600" b="0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18725" marR="118725" marT="178088" marB="1780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58257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e-CH" sz="4000" b="0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18725" marR="118725" marT="178088" marB="1780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CH" sz="4000" b="0" kern="1200" dirty="0">
                          <a:solidFill>
                            <a:srgbClr val="2F4048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118725" marR="118725" marT="178088" marB="178088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buFont typeface="Courier New" panose="02070309020205020404" pitchFamily="49" charset="0"/>
                        <a:buNone/>
                      </a:pPr>
                      <a:r>
                        <a:rPr lang="fr-CH" sz="4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nseignements &amp; perspectives</a:t>
                      </a:r>
                    </a:p>
                  </a:txBody>
                  <a:tcPr marL="118725" marR="118725" marT="178088" marB="178088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endParaRPr lang="de-CH" sz="26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18725" marR="118725" marT="178088" marB="1780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9175812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29727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bject 26">
            <a:extLst>
              <a:ext uri="{FF2B5EF4-FFF2-40B4-BE49-F238E27FC236}">
                <a16:creationId xmlns:a16="http://schemas.microsoft.com/office/drawing/2014/main" id="{FC550AF7-F742-D247-9055-1354292B8130}"/>
              </a:ext>
            </a:extLst>
          </p:cNvPr>
          <p:cNvSpPr/>
          <p:nvPr/>
        </p:nvSpPr>
        <p:spPr>
          <a:xfrm>
            <a:off x="12965085" y="4286398"/>
            <a:ext cx="4829179" cy="6047343"/>
          </a:xfrm>
          <a:custGeom>
            <a:avLst/>
            <a:gdLst/>
            <a:ahLst/>
            <a:cxnLst/>
            <a:rect l="l" t="t" r="r" b="b"/>
            <a:pathLst>
              <a:path w="7865109" h="6408420">
                <a:moveTo>
                  <a:pt x="7864797" y="0"/>
                </a:moveTo>
                <a:lnTo>
                  <a:pt x="0" y="0"/>
                </a:lnTo>
                <a:lnTo>
                  <a:pt x="0" y="6408181"/>
                </a:lnTo>
                <a:lnTo>
                  <a:pt x="7864797" y="6408181"/>
                </a:lnTo>
                <a:lnTo>
                  <a:pt x="7864797" y="0"/>
                </a:lnTo>
                <a:close/>
              </a:path>
            </a:pathLst>
          </a:custGeom>
          <a:solidFill>
            <a:srgbClr val="EDF0F2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8" name="object 26">
            <a:extLst>
              <a:ext uri="{FF2B5EF4-FFF2-40B4-BE49-F238E27FC236}">
                <a16:creationId xmlns:a16="http://schemas.microsoft.com/office/drawing/2014/main" id="{E87DE3AE-BEEC-EDD3-D241-ECB0829DCA9F}"/>
              </a:ext>
            </a:extLst>
          </p:cNvPr>
          <p:cNvSpPr/>
          <p:nvPr/>
        </p:nvSpPr>
        <p:spPr>
          <a:xfrm>
            <a:off x="7871720" y="4286398"/>
            <a:ext cx="4578334" cy="6047343"/>
          </a:xfrm>
          <a:custGeom>
            <a:avLst/>
            <a:gdLst/>
            <a:ahLst/>
            <a:cxnLst/>
            <a:rect l="l" t="t" r="r" b="b"/>
            <a:pathLst>
              <a:path w="7865109" h="6408420">
                <a:moveTo>
                  <a:pt x="7864797" y="0"/>
                </a:moveTo>
                <a:lnTo>
                  <a:pt x="0" y="0"/>
                </a:lnTo>
                <a:lnTo>
                  <a:pt x="0" y="6408181"/>
                </a:lnTo>
                <a:lnTo>
                  <a:pt x="7864797" y="6408181"/>
                </a:lnTo>
                <a:lnTo>
                  <a:pt x="7864797" y="0"/>
                </a:lnTo>
                <a:close/>
              </a:path>
            </a:pathLst>
          </a:custGeom>
          <a:solidFill>
            <a:srgbClr val="EDF0F2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" name="object 26">
            <a:extLst>
              <a:ext uri="{FF2B5EF4-FFF2-40B4-BE49-F238E27FC236}">
                <a16:creationId xmlns:a16="http://schemas.microsoft.com/office/drawing/2014/main" id="{78037CD4-BAE5-17CC-3D0B-EC225762F9F1}"/>
              </a:ext>
            </a:extLst>
          </p:cNvPr>
          <p:cNvSpPr/>
          <p:nvPr/>
        </p:nvSpPr>
        <p:spPr>
          <a:xfrm>
            <a:off x="2502350" y="4286398"/>
            <a:ext cx="4829179" cy="6047343"/>
          </a:xfrm>
          <a:custGeom>
            <a:avLst/>
            <a:gdLst/>
            <a:ahLst/>
            <a:cxnLst/>
            <a:rect l="l" t="t" r="r" b="b"/>
            <a:pathLst>
              <a:path w="7865109" h="6408420">
                <a:moveTo>
                  <a:pt x="7864797" y="0"/>
                </a:moveTo>
                <a:lnTo>
                  <a:pt x="0" y="0"/>
                </a:lnTo>
                <a:lnTo>
                  <a:pt x="0" y="6408181"/>
                </a:lnTo>
                <a:lnTo>
                  <a:pt x="7864797" y="6408181"/>
                </a:lnTo>
                <a:lnTo>
                  <a:pt x="7864797" y="0"/>
                </a:lnTo>
                <a:close/>
              </a:path>
            </a:pathLst>
          </a:custGeom>
          <a:solidFill>
            <a:srgbClr val="EDF0F2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" name="object 25">
            <a:extLst>
              <a:ext uri="{FF2B5EF4-FFF2-40B4-BE49-F238E27FC236}">
                <a16:creationId xmlns:a16="http://schemas.microsoft.com/office/drawing/2014/main" id="{550ED78D-57BD-EEA0-B396-BD865FEFF5CE}"/>
              </a:ext>
            </a:extLst>
          </p:cNvPr>
          <p:cNvSpPr txBox="1">
            <a:spLocks/>
          </p:cNvSpPr>
          <p:nvPr/>
        </p:nvSpPr>
        <p:spPr>
          <a:xfrm>
            <a:off x="1360487" y="975609"/>
            <a:ext cx="17383125" cy="1015663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>
            <a:lvl1pPr>
              <a:defRPr sz="4100" b="1" i="0">
                <a:solidFill>
                  <a:srgbClr val="2F4048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>
              <a:spcBef>
                <a:spcPts val="120"/>
              </a:spcBef>
            </a:pPr>
            <a:r>
              <a:rPr lang="fr-FR" dirty="0"/>
              <a:t>Contexte &amp; motivation</a:t>
            </a:r>
            <a:br>
              <a:rPr lang="fr-FR" dirty="0"/>
            </a:br>
            <a:r>
              <a:rPr lang="fr-FR" sz="2400" dirty="0">
                <a:solidFill>
                  <a:srgbClr val="FF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e démarche durable et exigeante</a:t>
            </a:r>
            <a:endParaRPr lang="fr-CH" dirty="0">
              <a:solidFill>
                <a:srgbClr val="FF6600"/>
              </a:solidFill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548A7813-C3C3-6E5D-3029-2DF37DE2643E}"/>
              </a:ext>
            </a:extLst>
          </p:cNvPr>
          <p:cNvSpPr txBox="1"/>
          <p:nvPr/>
        </p:nvSpPr>
        <p:spPr>
          <a:xfrm>
            <a:off x="8386754" y="4652950"/>
            <a:ext cx="379911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kern="0"/>
            </a:defPPr>
            <a:lvl1pPr algn="ctr" defTabSz="753923" rtl="0">
              <a:defRPr sz="3600" b="1">
                <a:solidFill>
                  <a:srgbClr val="2F4048"/>
                </a:solidFill>
                <a:latin typeface="Arial" panose="020B0604020202020204" pitchFamily="34" charset="0"/>
              </a:defRPr>
            </a:lvl1pPr>
          </a:lstStyle>
          <a:p>
            <a:r>
              <a:rPr lang="fr-FR" altLang="fr-FR" dirty="0"/>
              <a:t>Contexte en évolution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E41A5502-BB08-3101-1F42-F6D7D3AD0FDE}"/>
              </a:ext>
            </a:extLst>
          </p:cNvPr>
          <p:cNvSpPr txBox="1"/>
          <p:nvPr/>
        </p:nvSpPr>
        <p:spPr>
          <a:xfrm>
            <a:off x="13480119" y="4652950"/>
            <a:ext cx="379911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753923" rtl="0">
              <a:defRPr/>
            </a:pPr>
            <a:r>
              <a:rPr lang="fr-FR" sz="3600" b="1" dirty="0">
                <a:solidFill>
                  <a:srgbClr val="2F4048"/>
                </a:solidFill>
                <a:latin typeface="Arial" panose="020B0604020202020204" pitchFamily="34" charset="0"/>
              </a:rPr>
              <a:t>Nos</a:t>
            </a:r>
            <a:r>
              <a:rPr lang="fr-FR" sz="3600" dirty="0">
                <a:solidFill>
                  <a:srgbClr val="2F4048"/>
                </a:solidFill>
              </a:rPr>
              <a:t> </a:t>
            </a:r>
            <a:r>
              <a:rPr lang="fr-FR" sz="3600" b="1" dirty="0">
                <a:solidFill>
                  <a:srgbClr val="2F4048"/>
                </a:solidFill>
                <a:latin typeface="Arial" panose="020B0604020202020204" pitchFamily="34" charset="0"/>
              </a:rPr>
              <a:t>motivations</a:t>
            </a:r>
            <a:endParaRPr lang="fr-FR" altLang="fr-FR" sz="3600" b="1" dirty="0">
              <a:solidFill>
                <a:srgbClr val="2F4048"/>
              </a:solidFill>
              <a:latin typeface="Arial" panose="020B0604020202020204" pitchFamily="34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BF2FF5C4-5C2E-6585-7C93-B72EFB0EA84D}"/>
              </a:ext>
            </a:extLst>
          </p:cNvPr>
          <p:cNvSpPr txBox="1"/>
          <p:nvPr/>
        </p:nvSpPr>
        <p:spPr>
          <a:xfrm>
            <a:off x="3293389" y="4615305"/>
            <a:ext cx="379911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753923" rtl="0">
              <a:defRPr/>
            </a:pPr>
            <a:r>
              <a:rPr lang="fr-FR" altLang="fr-FR" sz="3600" b="1" dirty="0">
                <a:solidFill>
                  <a:srgbClr val="2F4048"/>
                </a:solidFill>
                <a:latin typeface="Arial" panose="020B0604020202020204" pitchFamily="34" charset="0"/>
              </a:rPr>
              <a:t>Démarche durable</a:t>
            </a:r>
            <a:endParaRPr lang="fr-FR" altLang="fr-FR" sz="4800" b="1" kern="1200" dirty="0">
              <a:solidFill>
                <a:srgbClr val="FF6600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66306783-CA8E-3EBD-BE85-EF2D260E0626}"/>
              </a:ext>
            </a:extLst>
          </p:cNvPr>
          <p:cNvSpPr txBox="1"/>
          <p:nvPr/>
        </p:nvSpPr>
        <p:spPr>
          <a:xfrm>
            <a:off x="2738735" y="6145004"/>
            <a:ext cx="4342364" cy="37805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fr-FR" dirty="0"/>
              <a:t>Certifiée </a:t>
            </a:r>
            <a:r>
              <a:rPr lang="fr-FR" b="1" dirty="0" err="1"/>
              <a:t>Friendly</a:t>
            </a:r>
            <a:r>
              <a:rPr lang="fr-FR" b="1" dirty="0"/>
              <a:t> Work </a:t>
            </a:r>
            <a:r>
              <a:rPr lang="fr-FR" b="1" dirty="0" err="1"/>
              <a:t>Space</a:t>
            </a:r>
            <a:r>
              <a:rPr lang="fr-FR" dirty="0"/>
              <a:t> depuis </a:t>
            </a:r>
            <a:r>
              <a:rPr lang="fr-FR" b="1" dirty="0"/>
              <a:t>2011</a:t>
            </a:r>
            <a:endParaRPr lang="fr-FR" dirty="0"/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fr-FR" b="1" dirty="0" err="1"/>
              <a:t>Recertification</a:t>
            </a:r>
            <a:r>
              <a:rPr lang="fr-FR" b="1" dirty="0"/>
              <a:t> triennale</a:t>
            </a:r>
            <a:r>
              <a:rPr lang="fr-FR" dirty="0"/>
              <a:t> : standards renforcés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fr-FR" dirty="0"/>
              <a:t>Label soutenu par </a:t>
            </a:r>
            <a:r>
              <a:rPr lang="fr-FR" b="1" dirty="0"/>
              <a:t>SECO / OFSP</a:t>
            </a:r>
            <a:r>
              <a:rPr lang="fr-FR" dirty="0"/>
              <a:t> – délivré par </a:t>
            </a:r>
            <a:r>
              <a:rPr lang="fr-FR" b="1" dirty="0"/>
              <a:t>Promotion Santé Suisse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endParaRPr lang="fr-FR" dirty="0"/>
          </a:p>
          <a:p>
            <a:pPr algn="ctr">
              <a:lnSpc>
                <a:spcPct val="150000"/>
              </a:lnSpc>
            </a:pPr>
            <a:r>
              <a:rPr lang="fr-FR" dirty="0"/>
              <a:t>🟠 </a:t>
            </a:r>
            <a:r>
              <a:rPr lang="fr-FR" i="1" dirty="0"/>
              <a:t>Référence nationale en santé et qualité de vie au travail</a:t>
            </a:r>
            <a:endParaRPr lang="fr-FR" dirty="0"/>
          </a:p>
        </p:txBody>
      </p:sp>
      <p:sp>
        <p:nvSpPr>
          <p:cNvPr id="8" name="Rectangle 1">
            <a:extLst>
              <a:ext uri="{FF2B5EF4-FFF2-40B4-BE49-F238E27FC236}">
                <a16:creationId xmlns:a16="http://schemas.microsoft.com/office/drawing/2014/main" id="{2B716609-01EF-ABE5-F5DC-8F092A11E8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68143" y="6145004"/>
            <a:ext cx="4036336" cy="37805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l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fr-FR" altLang="fr-FR" b="1" dirty="0"/>
              <a:t>Transformation</a:t>
            </a:r>
            <a:r>
              <a:rPr lang="fr-FR" altLang="fr-FR" dirty="0"/>
              <a:t> des métiers et organisations</a:t>
            </a:r>
          </a:p>
          <a:p>
            <a:pPr marL="342900" indent="-342900" algn="l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fr-FR" altLang="fr-FR" b="1" dirty="0"/>
              <a:t>Nouvelles attentes </a:t>
            </a:r>
            <a:r>
              <a:rPr lang="fr-FR" altLang="fr-FR" dirty="0" err="1"/>
              <a:t>collaborateur·trice·s</a:t>
            </a:r>
            <a:endParaRPr lang="fr-FR" altLang="fr-FR" dirty="0"/>
          </a:p>
          <a:p>
            <a:pPr marL="342900" indent="-342900" algn="l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fr-FR" altLang="fr-FR" dirty="0"/>
              <a:t>Approche intégrée : santé physique, psychique et organisationnelle</a:t>
            </a:r>
          </a:p>
          <a:p>
            <a:pPr marL="342900" indent="-342900" algn="l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fr-FR" altLang="fr-FR" dirty="0"/>
              <a:t>Inclusion &amp; diversité comme leviers de performance durable</a:t>
            </a: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82BB93B5-A25D-FF64-A6C9-A0E66F603E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480119" y="6145004"/>
            <a:ext cx="3799114" cy="25340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l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fr-FR" altLang="fr-FR" b="1" dirty="0"/>
              <a:t>Satisfaction &amp; engagement </a:t>
            </a:r>
            <a:r>
              <a:rPr lang="fr-FR" altLang="fr-FR" dirty="0"/>
              <a:t>des équipes</a:t>
            </a:r>
          </a:p>
          <a:p>
            <a:pPr marL="342900" indent="-342900" algn="l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fr-FR" altLang="fr-FR" b="1" dirty="0"/>
              <a:t>Attractivité employeur </a:t>
            </a:r>
            <a:r>
              <a:rPr lang="fr-FR" altLang="fr-FR" dirty="0"/>
              <a:t>renforcée</a:t>
            </a:r>
          </a:p>
          <a:p>
            <a:pPr marL="342900" indent="-342900" algn="l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fr-FR" altLang="fr-FR" b="1" dirty="0"/>
              <a:t>Innovation continue en santé au travail</a:t>
            </a:r>
          </a:p>
        </p:txBody>
      </p:sp>
      <p:pic>
        <p:nvPicPr>
          <p:cNvPr id="11" name="Graphique 10" descr="Aspiration avec un remplissage uni">
            <a:extLst>
              <a:ext uri="{FF2B5EF4-FFF2-40B4-BE49-F238E27FC236}">
                <a16:creationId xmlns:a16="http://schemas.microsoft.com/office/drawing/2014/main" id="{D9585D76-968D-9EFD-068A-DD8E6B7091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4555060" y="2510802"/>
            <a:ext cx="1649231" cy="1649231"/>
          </a:xfrm>
          <a:prstGeom prst="rect">
            <a:avLst/>
          </a:prstGeom>
        </p:spPr>
      </p:pic>
      <p:pic>
        <p:nvPicPr>
          <p:cNvPr id="13" name="Graphique 12" descr="Médaille avec un remplissage uni">
            <a:extLst>
              <a:ext uri="{FF2B5EF4-FFF2-40B4-BE49-F238E27FC236}">
                <a16:creationId xmlns:a16="http://schemas.microsoft.com/office/drawing/2014/main" id="{FBE25B1F-3CAA-D99B-8B56-EAD90BBFA81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368330" y="2510802"/>
            <a:ext cx="1649231" cy="1649231"/>
          </a:xfrm>
          <a:prstGeom prst="rect">
            <a:avLst/>
          </a:prstGeom>
        </p:spPr>
      </p:pic>
      <p:pic>
        <p:nvPicPr>
          <p:cNvPr id="15" name="Graphique 14" descr="Fusion avec un remplissage uni">
            <a:extLst>
              <a:ext uri="{FF2B5EF4-FFF2-40B4-BE49-F238E27FC236}">
                <a16:creationId xmlns:a16="http://schemas.microsoft.com/office/drawing/2014/main" id="{1E55D747-57FC-3521-63B5-FE7ECF3200A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461695" y="2510803"/>
            <a:ext cx="1649231" cy="1649231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7821D5-3A51-AE8C-7042-A44416294F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ject 26">
            <a:extLst>
              <a:ext uri="{FF2B5EF4-FFF2-40B4-BE49-F238E27FC236}">
                <a16:creationId xmlns:a16="http://schemas.microsoft.com/office/drawing/2014/main" id="{29823CCB-5E18-62E0-17E3-9310FAFE83D9}"/>
              </a:ext>
            </a:extLst>
          </p:cNvPr>
          <p:cNvSpPr/>
          <p:nvPr/>
        </p:nvSpPr>
        <p:spPr>
          <a:xfrm>
            <a:off x="1926273" y="2425252"/>
            <a:ext cx="4382888" cy="7497734"/>
          </a:xfrm>
          <a:custGeom>
            <a:avLst/>
            <a:gdLst/>
            <a:ahLst/>
            <a:cxnLst/>
            <a:rect l="l" t="t" r="r" b="b"/>
            <a:pathLst>
              <a:path w="7865109" h="6408420">
                <a:moveTo>
                  <a:pt x="7864797" y="0"/>
                </a:moveTo>
                <a:lnTo>
                  <a:pt x="0" y="0"/>
                </a:lnTo>
                <a:lnTo>
                  <a:pt x="0" y="6408181"/>
                </a:lnTo>
                <a:lnTo>
                  <a:pt x="7864797" y="6408181"/>
                </a:lnTo>
                <a:lnTo>
                  <a:pt x="7864797" y="0"/>
                </a:lnTo>
                <a:close/>
              </a:path>
            </a:pathLst>
          </a:custGeom>
          <a:solidFill>
            <a:srgbClr val="EDF0F2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B3D8759-019F-9544-9817-D616112DD2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274" imgH="274" progId="TCLayout.ActiveDocument.1">
                  <p:embed/>
                </p:oleObj>
              </mc:Choice>
              <mc:Fallback>
                <p:oleObj name="Diapositive think-cell" r:id="rId4" imgW="274" imgH="27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3D8759-019F-9544-9817-D616112DD2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object 25">
            <a:extLst>
              <a:ext uri="{FF2B5EF4-FFF2-40B4-BE49-F238E27FC236}">
                <a16:creationId xmlns:a16="http://schemas.microsoft.com/office/drawing/2014/main" id="{6BD11BF1-F629-7F8A-73F9-FD458FE3C27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360487" y="975609"/>
            <a:ext cx="17383125" cy="1015663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lang="en-US" dirty="0"/>
              <a:t>Notre </a:t>
            </a:r>
            <a:r>
              <a:rPr lang="en-US" dirty="0" err="1"/>
              <a:t>approche</a:t>
            </a:r>
            <a:r>
              <a:rPr lang="en-US" dirty="0"/>
              <a:t> Friendly Work Space</a:t>
            </a:r>
            <a:br>
              <a:rPr lang="fr-FR" dirty="0"/>
            </a:br>
            <a:r>
              <a:rPr kumimoji="0" lang="fr-FR" sz="2400" b="1" i="0" u="none" strike="noStrike" kern="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Une démarche structurée et collective pour une amélioration continue</a:t>
            </a:r>
            <a:endParaRPr lang="fr-CH" dirty="0">
              <a:solidFill>
                <a:srgbClr val="FF6600"/>
              </a:solidFill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43736F1B-7299-DF02-525A-F1596DEDB61B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562070" y="10494634"/>
            <a:ext cx="279400" cy="224790"/>
          </a:xfrm>
        </p:spPr>
        <p:txBody>
          <a:bodyPr/>
          <a:lstStyle/>
          <a:p>
            <a:pPr marL="38100">
              <a:lnSpc>
                <a:spcPts val="1650"/>
              </a:lnSpc>
            </a:pPr>
            <a:fld id="{81D60167-4931-47E6-BA6A-407CBD079E47}" type="slidenum">
              <a:rPr lang="fr-CH" spc="-25" smtClean="0"/>
              <a:t>4</a:t>
            </a:fld>
            <a:endParaRPr lang="fr-CH" spc="-25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77E58F36-A8FE-FBD7-8636-59B4EFFD366A}"/>
              </a:ext>
            </a:extLst>
          </p:cNvPr>
          <p:cNvSpPr txBox="1"/>
          <p:nvPr/>
        </p:nvSpPr>
        <p:spPr>
          <a:xfrm>
            <a:off x="2218160" y="3029471"/>
            <a:ext cx="379911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753923" rtl="0">
              <a:defRPr/>
            </a:pPr>
            <a:r>
              <a:rPr lang="fr-FR" altLang="fr-FR" sz="3200" b="1" dirty="0">
                <a:solidFill>
                  <a:srgbClr val="FF6600"/>
                </a:solidFill>
                <a:latin typeface="Arial" panose="020B0604020202020204" pitchFamily="34" charset="0"/>
              </a:rPr>
              <a:t>Volonté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FABE3E38-45CB-E34E-340F-AB41893EAA64}"/>
              </a:ext>
            </a:extLst>
          </p:cNvPr>
          <p:cNvSpPr txBox="1"/>
          <p:nvPr/>
        </p:nvSpPr>
        <p:spPr>
          <a:xfrm>
            <a:off x="2672705" y="8471648"/>
            <a:ext cx="289002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753923" rtl="0">
              <a:defRPr/>
            </a:pPr>
            <a:r>
              <a:rPr lang="fr-FR" altLang="fr-FR" sz="2800" b="1" kern="1200" dirty="0">
                <a:solidFill>
                  <a:srgbClr val="2F4048"/>
                </a:solidFill>
                <a:latin typeface="Arial" panose="020B0604020202020204"/>
                <a:cs typeface="Arial" panose="020B0604020202020204" pitchFamily="34" charset="0"/>
              </a:rPr>
              <a:t>Moyens</a:t>
            </a:r>
            <a:endParaRPr lang="fr-FR" altLang="fr-FR" sz="1400" dirty="0">
              <a:solidFill>
                <a:srgbClr val="2F4048"/>
              </a:solidFill>
              <a:latin typeface="Arial" panose="020B0604020202020204" pitchFamily="34" charset="0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3A3179A9-09DC-4692-7E9F-2DB6B5EA2B12}"/>
              </a:ext>
            </a:extLst>
          </p:cNvPr>
          <p:cNvSpPr txBox="1"/>
          <p:nvPr/>
        </p:nvSpPr>
        <p:spPr>
          <a:xfrm>
            <a:off x="2075286" y="5638830"/>
            <a:ext cx="408486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7539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2800" b="1" i="0" u="none" strike="noStrike" kern="1200" cap="none" spc="0" normalizeH="0" baseline="0" noProof="0" dirty="0">
                <a:ln>
                  <a:noFill/>
                </a:ln>
                <a:solidFill>
                  <a:srgbClr val="2F4048"/>
                </a:solidFill>
                <a:effectLst/>
                <a:uLnTx/>
                <a:uFillTx/>
                <a:latin typeface="Arial" panose="020B0604020202020204"/>
                <a:cs typeface="Arial" panose="020B0604020202020204" pitchFamily="34" charset="0"/>
              </a:rPr>
              <a:t>Equipe</a:t>
            </a:r>
          </a:p>
        </p:txBody>
      </p:sp>
      <p:sp>
        <p:nvSpPr>
          <p:cNvPr id="21" name="object 26">
            <a:extLst>
              <a:ext uri="{FF2B5EF4-FFF2-40B4-BE49-F238E27FC236}">
                <a16:creationId xmlns:a16="http://schemas.microsoft.com/office/drawing/2014/main" id="{BF591057-202C-B83D-F771-BE6B98963E46}"/>
              </a:ext>
            </a:extLst>
          </p:cNvPr>
          <p:cNvSpPr/>
          <p:nvPr/>
        </p:nvSpPr>
        <p:spPr>
          <a:xfrm>
            <a:off x="7927968" y="2425251"/>
            <a:ext cx="4382888" cy="7497735"/>
          </a:xfrm>
          <a:custGeom>
            <a:avLst/>
            <a:gdLst/>
            <a:ahLst/>
            <a:cxnLst/>
            <a:rect l="l" t="t" r="r" b="b"/>
            <a:pathLst>
              <a:path w="7865109" h="6408420">
                <a:moveTo>
                  <a:pt x="7864797" y="0"/>
                </a:moveTo>
                <a:lnTo>
                  <a:pt x="0" y="0"/>
                </a:lnTo>
                <a:lnTo>
                  <a:pt x="0" y="6408181"/>
                </a:lnTo>
                <a:lnTo>
                  <a:pt x="7864797" y="6408181"/>
                </a:lnTo>
                <a:lnTo>
                  <a:pt x="7864797" y="0"/>
                </a:lnTo>
                <a:close/>
              </a:path>
            </a:pathLst>
          </a:custGeom>
          <a:solidFill>
            <a:srgbClr val="EDF0F2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2F041663-866D-C51C-EDC2-A692A59009D8}"/>
              </a:ext>
            </a:extLst>
          </p:cNvPr>
          <p:cNvSpPr txBox="1"/>
          <p:nvPr/>
        </p:nvSpPr>
        <p:spPr>
          <a:xfrm>
            <a:off x="8674400" y="8471648"/>
            <a:ext cx="289002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753923" rtl="0">
              <a:defRPr/>
            </a:pPr>
            <a:r>
              <a:rPr lang="fr-FR" altLang="fr-FR" sz="2800" b="1" kern="1200" dirty="0">
                <a:solidFill>
                  <a:srgbClr val="2F4048"/>
                </a:solidFill>
                <a:latin typeface="Arial" panose="020B0604020202020204"/>
                <a:cs typeface="Arial" panose="020B0604020202020204" pitchFamily="34" charset="0"/>
              </a:rPr>
              <a:t>Indicateurs</a:t>
            </a:r>
            <a:endParaRPr lang="fr-FR" altLang="fr-FR" sz="1400" dirty="0">
              <a:solidFill>
                <a:srgbClr val="2F4048"/>
              </a:solidFill>
              <a:latin typeface="Arial" panose="020B0604020202020204" pitchFamily="34" charset="0"/>
            </a:endParaRPr>
          </a:p>
        </p:txBody>
      </p:sp>
      <p:sp>
        <p:nvSpPr>
          <p:cNvPr id="26" name="object 26">
            <a:extLst>
              <a:ext uri="{FF2B5EF4-FFF2-40B4-BE49-F238E27FC236}">
                <a16:creationId xmlns:a16="http://schemas.microsoft.com/office/drawing/2014/main" id="{2913FFC9-BCC8-B7CA-0F74-39E6F3A40489}"/>
              </a:ext>
            </a:extLst>
          </p:cNvPr>
          <p:cNvSpPr/>
          <p:nvPr/>
        </p:nvSpPr>
        <p:spPr>
          <a:xfrm>
            <a:off x="14158348" y="2425251"/>
            <a:ext cx="4382888" cy="7497735"/>
          </a:xfrm>
          <a:custGeom>
            <a:avLst/>
            <a:gdLst/>
            <a:ahLst/>
            <a:cxnLst/>
            <a:rect l="l" t="t" r="r" b="b"/>
            <a:pathLst>
              <a:path w="7865109" h="6408420">
                <a:moveTo>
                  <a:pt x="7864797" y="0"/>
                </a:moveTo>
                <a:lnTo>
                  <a:pt x="0" y="0"/>
                </a:lnTo>
                <a:lnTo>
                  <a:pt x="0" y="6408181"/>
                </a:lnTo>
                <a:lnTo>
                  <a:pt x="7864797" y="6408181"/>
                </a:lnTo>
                <a:lnTo>
                  <a:pt x="7864797" y="0"/>
                </a:lnTo>
                <a:close/>
              </a:path>
            </a:pathLst>
          </a:custGeom>
          <a:solidFill>
            <a:srgbClr val="EDF0F2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9" name="ZoneTexte 28">
            <a:extLst>
              <a:ext uri="{FF2B5EF4-FFF2-40B4-BE49-F238E27FC236}">
                <a16:creationId xmlns:a16="http://schemas.microsoft.com/office/drawing/2014/main" id="{BA89A8E1-3064-C77F-2324-58DDF129BA57}"/>
              </a:ext>
            </a:extLst>
          </p:cNvPr>
          <p:cNvSpPr txBox="1"/>
          <p:nvPr/>
        </p:nvSpPr>
        <p:spPr>
          <a:xfrm>
            <a:off x="14307361" y="5638830"/>
            <a:ext cx="408486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7539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altLang="fr-FR" sz="2800" b="1" kern="1200" dirty="0">
                <a:solidFill>
                  <a:srgbClr val="2F4048"/>
                </a:solidFill>
                <a:latin typeface="Arial" panose="020B0604020202020204"/>
                <a:cs typeface="Arial" panose="020B0604020202020204" pitchFamily="34" charset="0"/>
              </a:rPr>
              <a:t>Objectifs</a:t>
            </a:r>
            <a:endParaRPr kumimoji="0" lang="fr-FR" altLang="fr-FR" sz="2800" b="1" i="0" u="none" strike="noStrike" kern="1200" cap="none" spc="0" normalizeH="0" baseline="0" noProof="0" dirty="0">
              <a:ln>
                <a:noFill/>
              </a:ln>
              <a:solidFill>
                <a:srgbClr val="2F4048"/>
              </a:solidFill>
              <a:effectLst/>
              <a:uLnTx/>
              <a:uFillTx/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43" name="ZoneTexte 42">
            <a:extLst>
              <a:ext uri="{FF2B5EF4-FFF2-40B4-BE49-F238E27FC236}">
                <a16:creationId xmlns:a16="http://schemas.microsoft.com/office/drawing/2014/main" id="{92446AAF-1EE3-7C3F-99E6-9D82D034F8B1}"/>
              </a:ext>
            </a:extLst>
          </p:cNvPr>
          <p:cNvSpPr txBox="1"/>
          <p:nvPr/>
        </p:nvSpPr>
        <p:spPr>
          <a:xfrm>
            <a:off x="8219855" y="3029470"/>
            <a:ext cx="379911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753923" rtl="0">
              <a:defRPr/>
            </a:pPr>
            <a:r>
              <a:rPr lang="fr-FR" altLang="fr-FR" sz="3200" b="1" dirty="0">
                <a:solidFill>
                  <a:srgbClr val="FF6600"/>
                </a:solidFill>
                <a:latin typeface="Arial" panose="020B0604020202020204" pitchFamily="34" charset="0"/>
              </a:rPr>
              <a:t>Questionnement</a:t>
            </a:r>
          </a:p>
        </p:txBody>
      </p:sp>
      <p:sp>
        <p:nvSpPr>
          <p:cNvPr id="44" name="ZoneTexte 43">
            <a:extLst>
              <a:ext uri="{FF2B5EF4-FFF2-40B4-BE49-F238E27FC236}">
                <a16:creationId xmlns:a16="http://schemas.microsoft.com/office/drawing/2014/main" id="{53435559-B493-A5A7-963F-6DE484A29B9B}"/>
              </a:ext>
            </a:extLst>
          </p:cNvPr>
          <p:cNvSpPr txBox="1"/>
          <p:nvPr/>
        </p:nvSpPr>
        <p:spPr>
          <a:xfrm>
            <a:off x="14450235" y="3057350"/>
            <a:ext cx="379911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753923" rtl="0">
              <a:defRPr/>
            </a:pPr>
            <a:r>
              <a:rPr lang="fr-FR" altLang="fr-FR" sz="3200" b="1" dirty="0">
                <a:solidFill>
                  <a:srgbClr val="FF6600"/>
                </a:solidFill>
                <a:latin typeface="Arial" panose="020B0604020202020204" pitchFamily="34" charset="0"/>
              </a:rPr>
              <a:t>Progression</a:t>
            </a:r>
          </a:p>
        </p:txBody>
      </p:sp>
      <p:pic>
        <p:nvPicPr>
          <p:cNvPr id="50" name="Graphique 49" descr="Pièces contour">
            <a:extLst>
              <a:ext uri="{FF2B5EF4-FFF2-40B4-BE49-F238E27FC236}">
                <a16:creationId xmlns:a16="http://schemas.microsoft.com/office/drawing/2014/main" id="{6F280AEE-0689-EF5C-325C-24F7ABDE85D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570247" y="7059029"/>
            <a:ext cx="1094941" cy="1094941"/>
          </a:xfrm>
          <a:prstGeom prst="rect">
            <a:avLst/>
          </a:prstGeom>
        </p:spPr>
      </p:pic>
      <p:pic>
        <p:nvPicPr>
          <p:cNvPr id="52" name="Graphique 51" descr="Sablier 90% contour">
            <a:extLst>
              <a:ext uri="{FF2B5EF4-FFF2-40B4-BE49-F238E27FC236}">
                <a16:creationId xmlns:a16="http://schemas.microsoft.com/office/drawing/2014/main" id="{D66461B1-5212-ACFD-EEE8-6EEBD9E6091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570247" y="7059029"/>
            <a:ext cx="1094941" cy="1094941"/>
          </a:xfrm>
          <a:prstGeom prst="rect">
            <a:avLst/>
          </a:prstGeom>
        </p:spPr>
      </p:pic>
      <p:pic>
        <p:nvPicPr>
          <p:cNvPr id="54" name="Graphique 53" descr="Utilisateurs contour">
            <a:extLst>
              <a:ext uri="{FF2B5EF4-FFF2-40B4-BE49-F238E27FC236}">
                <a16:creationId xmlns:a16="http://schemas.microsoft.com/office/drawing/2014/main" id="{7E5D6119-6C3F-A476-6A21-D1D024E6138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480312" y="4215869"/>
            <a:ext cx="1274810" cy="1274810"/>
          </a:xfrm>
          <a:prstGeom prst="rect">
            <a:avLst/>
          </a:prstGeom>
        </p:spPr>
      </p:pic>
      <p:sp>
        <p:nvSpPr>
          <p:cNvPr id="28" name="ZoneTexte 27">
            <a:extLst>
              <a:ext uri="{FF2B5EF4-FFF2-40B4-BE49-F238E27FC236}">
                <a16:creationId xmlns:a16="http://schemas.microsoft.com/office/drawing/2014/main" id="{9E036C0F-E8CC-7E35-C086-7007E189479B}"/>
              </a:ext>
            </a:extLst>
          </p:cNvPr>
          <p:cNvSpPr txBox="1"/>
          <p:nvPr/>
        </p:nvSpPr>
        <p:spPr>
          <a:xfrm>
            <a:off x="8238488" y="5638830"/>
            <a:ext cx="376184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7539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altLang="fr-FR" sz="2800" b="1" kern="1200" dirty="0">
                <a:solidFill>
                  <a:srgbClr val="2F4048"/>
                </a:solidFill>
                <a:latin typeface="Arial" panose="020B0604020202020204"/>
                <a:cs typeface="Arial" panose="020B0604020202020204" pitchFamily="34" charset="0"/>
              </a:rPr>
              <a:t>Processus</a:t>
            </a:r>
            <a:endParaRPr kumimoji="0" lang="fr-FR" altLang="fr-FR" sz="2800" b="1" i="0" u="none" strike="noStrike" kern="1200" cap="none" spc="0" normalizeH="0" baseline="0" noProof="0" dirty="0">
              <a:ln>
                <a:noFill/>
              </a:ln>
              <a:solidFill>
                <a:srgbClr val="2F4048"/>
              </a:solidFill>
              <a:effectLst/>
              <a:uLnTx/>
              <a:uFillTx/>
              <a:latin typeface="Arial" panose="020B0604020202020204"/>
              <a:cs typeface="Arial" panose="020B0604020202020204" pitchFamily="34" charset="0"/>
            </a:endParaRPr>
          </a:p>
        </p:txBody>
      </p:sp>
      <p:pic>
        <p:nvPicPr>
          <p:cNvPr id="56" name="Graphique 55" descr="Tableau décisionnel contour">
            <a:extLst>
              <a:ext uri="{FF2B5EF4-FFF2-40B4-BE49-F238E27FC236}">
                <a16:creationId xmlns:a16="http://schemas.microsoft.com/office/drawing/2014/main" id="{13142B50-6788-AAC3-1856-411C0240E6F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512432" y="4246294"/>
            <a:ext cx="1213960" cy="1213960"/>
          </a:xfrm>
          <a:prstGeom prst="rect">
            <a:avLst/>
          </a:prstGeom>
        </p:spPr>
      </p:pic>
      <p:pic>
        <p:nvPicPr>
          <p:cNvPr id="58" name="Graphique 57" descr="Graphique à barres contour">
            <a:extLst>
              <a:ext uri="{FF2B5EF4-FFF2-40B4-BE49-F238E27FC236}">
                <a16:creationId xmlns:a16="http://schemas.microsoft.com/office/drawing/2014/main" id="{0ED79BA5-D99A-D446-372F-6FB964575CD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463051" y="6950138"/>
            <a:ext cx="1312722" cy="1312722"/>
          </a:xfrm>
          <a:prstGeom prst="rect">
            <a:avLst/>
          </a:prstGeom>
        </p:spPr>
      </p:pic>
      <p:pic>
        <p:nvPicPr>
          <p:cNvPr id="60" name="Graphique 59" descr="Mille contour">
            <a:extLst>
              <a:ext uri="{FF2B5EF4-FFF2-40B4-BE49-F238E27FC236}">
                <a16:creationId xmlns:a16="http://schemas.microsoft.com/office/drawing/2014/main" id="{BC750A5C-FF0D-4590-A5E3-60ECC19C95B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5789648" y="4293130"/>
            <a:ext cx="1120289" cy="1120289"/>
          </a:xfrm>
          <a:prstGeom prst="rect">
            <a:avLst/>
          </a:prstGeom>
        </p:spPr>
      </p:pic>
      <p:pic>
        <p:nvPicPr>
          <p:cNvPr id="62" name="Graphique 61" descr="Podium contour">
            <a:extLst>
              <a:ext uri="{FF2B5EF4-FFF2-40B4-BE49-F238E27FC236}">
                <a16:creationId xmlns:a16="http://schemas.microsoft.com/office/drawing/2014/main" id="{A6A8D81D-4DC6-6B5A-32B0-29BBADAA692B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5724416" y="6981123"/>
            <a:ext cx="1250752" cy="1250752"/>
          </a:xfrm>
          <a:prstGeom prst="rect">
            <a:avLst/>
          </a:prstGeom>
        </p:spPr>
      </p:pic>
      <p:sp>
        <p:nvSpPr>
          <p:cNvPr id="63" name="ZoneTexte 62">
            <a:extLst>
              <a:ext uri="{FF2B5EF4-FFF2-40B4-BE49-F238E27FC236}">
                <a16:creationId xmlns:a16="http://schemas.microsoft.com/office/drawing/2014/main" id="{CEDAB197-5993-2E9A-C0AA-7DC42C04A84C}"/>
              </a:ext>
            </a:extLst>
          </p:cNvPr>
          <p:cNvSpPr txBox="1"/>
          <p:nvPr/>
        </p:nvSpPr>
        <p:spPr>
          <a:xfrm>
            <a:off x="14307361" y="8471648"/>
            <a:ext cx="408486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7539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altLang="fr-FR" sz="2800" b="1" kern="1200" dirty="0">
                <a:solidFill>
                  <a:srgbClr val="2F4048"/>
                </a:solidFill>
                <a:latin typeface="Arial" panose="020B0604020202020204"/>
                <a:cs typeface="Arial" panose="020B0604020202020204" pitchFamily="34" charset="0"/>
              </a:rPr>
              <a:t>Succès</a:t>
            </a:r>
            <a:endParaRPr kumimoji="0" lang="fr-FR" altLang="fr-FR" sz="2800" b="1" i="0" u="none" strike="noStrike" kern="1200" cap="none" spc="0" normalizeH="0" baseline="0" noProof="0" dirty="0">
              <a:ln>
                <a:noFill/>
              </a:ln>
              <a:solidFill>
                <a:srgbClr val="2F4048"/>
              </a:solidFill>
              <a:effectLst/>
              <a:uLnTx/>
              <a:uFillTx/>
              <a:latin typeface="Arial" panose="020B0604020202020204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28427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2EEAF7-257F-65BE-8742-FF7C47B760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0C216CE-237E-3DB3-0639-20DD65EC9D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411" imgH="411" progId="TCLayout.ActiveDocument.1">
                  <p:embed/>
                </p:oleObj>
              </mc:Choice>
              <mc:Fallback>
                <p:oleObj name="Diapositive think-cell" r:id="rId4" imgW="411" imgH="411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C216CE-237E-3DB3-0639-20DD65EC9D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>
            <a:extLst>
              <a:ext uri="{FF2B5EF4-FFF2-40B4-BE49-F238E27FC236}">
                <a16:creationId xmlns:a16="http://schemas.microsoft.com/office/drawing/2014/main" id="{457A17A0-7877-AA24-61AB-34E8E364BC8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261422" y="1031385"/>
            <a:ext cx="17383125" cy="6540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lang="fr-CH" dirty="0"/>
              <a:t>Outils et mesures concrètes</a:t>
            </a:r>
            <a:endParaRPr spc="-10" dirty="0"/>
          </a:p>
        </p:txBody>
      </p:sp>
      <p:sp>
        <p:nvSpPr>
          <p:cNvPr id="12" name="object 12">
            <a:extLst>
              <a:ext uri="{FF2B5EF4-FFF2-40B4-BE49-F238E27FC236}">
                <a16:creationId xmlns:a16="http://schemas.microsoft.com/office/drawing/2014/main" id="{DF6C491E-895E-2B53-AA58-618BBD8BEB87}"/>
              </a:ext>
            </a:extLst>
          </p:cNvPr>
          <p:cNvSpPr/>
          <p:nvPr/>
        </p:nvSpPr>
        <p:spPr>
          <a:xfrm>
            <a:off x="1135746" y="3606135"/>
            <a:ext cx="17471390" cy="0"/>
          </a:xfrm>
          <a:custGeom>
            <a:avLst/>
            <a:gdLst/>
            <a:ahLst/>
            <a:cxnLst/>
            <a:rect l="l" t="t" r="r" b="b"/>
            <a:pathLst>
              <a:path w="17471390">
                <a:moveTo>
                  <a:pt x="0" y="0"/>
                </a:moveTo>
                <a:lnTo>
                  <a:pt x="17471258" y="0"/>
                </a:lnTo>
              </a:path>
            </a:pathLst>
          </a:custGeom>
          <a:ln w="34925">
            <a:solidFill>
              <a:srgbClr val="2F4048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srgbClr val="2F4048"/>
              </a:solidFill>
            </a:endParaRPr>
          </a:p>
        </p:txBody>
      </p:sp>
      <p:sp>
        <p:nvSpPr>
          <p:cNvPr id="13" name="object 13">
            <a:extLst>
              <a:ext uri="{FF2B5EF4-FFF2-40B4-BE49-F238E27FC236}">
                <a16:creationId xmlns:a16="http://schemas.microsoft.com/office/drawing/2014/main" id="{10A5568E-B10F-2E95-A1D8-43E669FD591C}"/>
              </a:ext>
            </a:extLst>
          </p:cNvPr>
          <p:cNvSpPr/>
          <p:nvPr/>
        </p:nvSpPr>
        <p:spPr>
          <a:xfrm>
            <a:off x="18481352" y="3439447"/>
            <a:ext cx="163195" cy="333375"/>
          </a:xfrm>
          <a:custGeom>
            <a:avLst/>
            <a:gdLst/>
            <a:ahLst/>
            <a:cxnLst/>
            <a:rect l="l" t="t" r="r" b="b"/>
            <a:pathLst>
              <a:path w="163194" h="333375">
                <a:moveTo>
                  <a:pt x="0" y="0"/>
                </a:moveTo>
                <a:lnTo>
                  <a:pt x="163157" y="166591"/>
                </a:lnTo>
                <a:lnTo>
                  <a:pt x="41" y="333225"/>
                </a:lnTo>
              </a:path>
            </a:pathLst>
          </a:custGeom>
          <a:ln w="34925">
            <a:solidFill>
              <a:srgbClr val="2F4048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srgbClr val="2F4048"/>
              </a:solidFill>
            </a:endParaRPr>
          </a:p>
        </p:txBody>
      </p:sp>
      <p:sp>
        <p:nvSpPr>
          <p:cNvPr id="19" name="object 9">
            <a:extLst>
              <a:ext uri="{FF2B5EF4-FFF2-40B4-BE49-F238E27FC236}">
                <a16:creationId xmlns:a16="http://schemas.microsoft.com/office/drawing/2014/main" id="{22D5D8D3-F36C-83A1-6A7D-A304D321A37C}"/>
              </a:ext>
            </a:extLst>
          </p:cNvPr>
          <p:cNvSpPr txBox="1"/>
          <p:nvPr/>
        </p:nvSpPr>
        <p:spPr>
          <a:xfrm>
            <a:off x="1729965" y="4270528"/>
            <a:ext cx="3127135" cy="7066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55600" marR="5080" indent="-342900">
              <a:lnSpc>
                <a:spcPct val="108700"/>
              </a:lnSpc>
              <a:spcBef>
                <a:spcPts val="100"/>
              </a:spcBef>
              <a:buFont typeface="Wingdings" panose="05000000000000000000" pitchFamily="2" charset="2"/>
              <a:buChar char="ü"/>
            </a:pPr>
            <a:r>
              <a:rPr lang="fr-CH" sz="2150" dirty="0">
                <a:solidFill>
                  <a:srgbClr val="2F4048"/>
                </a:solidFill>
                <a:latin typeface="Arial"/>
                <a:cs typeface="Arial"/>
              </a:rPr>
              <a:t>Gestion des absences et des présences</a:t>
            </a:r>
          </a:p>
        </p:txBody>
      </p:sp>
      <p:sp>
        <p:nvSpPr>
          <p:cNvPr id="25" name="object 6">
            <a:extLst>
              <a:ext uri="{FF2B5EF4-FFF2-40B4-BE49-F238E27FC236}">
                <a16:creationId xmlns:a16="http://schemas.microsoft.com/office/drawing/2014/main" id="{6BD4A16B-6B29-DE90-2E31-6CCFE5D5FDC0}"/>
              </a:ext>
            </a:extLst>
          </p:cNvPr>
          <p:cNvSpPr txBox="1"/>
          <p:nvPr/>
        </p:nvSpPr>
        <p:spPr>
          <a:xfrm>
            <a:off x="1946975" y="2648258"/>
            <a:ext cx="2420313" cy="428964"/>
          </a:xfrm>
          <a:prstGeom prst="rect">
            <a:avLst/>
          </a:prstGeom>
        </p:spPr>
        <p:txBody>
          <a:bodyPr vert="horz" wrap="square" lIns="0" tIns="4381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575"/>
              </a:spcBef>
            </a:pPr>
            <a:r>
              <a:rPr lang="fr-CH" sz="2500" dirty="0">
                <a:solidFill>
                  <a:srgbClr val="FF6600"/>
                </a:solidFill>
                <a:latin typeface="Arial"/>
                <a:cs typeface="Arial"/>
              </a:rPr>
              <a:t>2021</a:t>
            </a:r>
            <a:endParaRPr sz="2500" dirty="0">
              <a:latin typeface="Arial"/>
              <a:cs typeface="Arial"/>
            </a:endParaRPr>
          </a:p>
        </p:txBody>
      </p:sp>
      <p:sp>
        <p:nvSpPr>
          <p:cNvPr id="26" name="Ellipse 25">
            <a:extLst>
              <a:ext uri="{FF2B5EF4-FFF2-40B4-BE49-F238E27FC236}">
                <a16:creationId xmlns:a16="http://schemas.microsoft.com/office/drawing/2014/main" id="{4172DE04-2D82-E0EC-C4E6-47ABD4B2B670}"/>
              </a:ext>
            </a:extLst>
          </p:cNvPr>
          <p:cNvSpPr/>
          <p:nvPr/>
        </p:nvSpPr>
        <p:spPr>
          <a:xfrm>
            <a:off x="2890432" y="3373027"/>
            <a:ext cx="533400" cy="564382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object 9">
            <a:extLst>
              <a:ext uri="{FF2B5EF4-FFF2-40B4-BE49-F238E27FC236}">
                <a16:creationId xmlns:a16="http://schemas.microsoft.com/office/drawing/2014/main" id="{8BE109B5-5DFE-F685-DEA5-BE697E131320}"/>
              </a:ext>
            </a:extLst>
          </p:cNvPr>
          <p:cNvSpPr txBox="1"/>
          <p:nvPr/>
        </p:nvSpPr>
        <p:spPr>
          <a:xfrm>
            <a:off x="5343655" y="4270528"/>
            <a:ext cx="4120635" cy="71949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55600" marR="5080" indent="-342900">
              <a:lnSpc>
                <a:spcPct val="108700"/>
              </a:lnSpc>
              <a:spcBef>
                <a:spcPts val="100"/>
              </a:spcBef>
              <a:buFont typeface="Wingdings" panose="05000000000000000000" pitchFamily="2" charset="2"/>
              <a:buChar char="ü"/>
            </a:pPr>
            <a:r>
              <a:rPr lang="fr-CH" sz="2150" dirty="0">
                <a:solidFill>
                  <a:srgbClr val="2F4048"/>
                </a:solidFill>
                <a:latin typeface="Arial"/>
                <a:cs typeface="Arial"/>
              </a:rPr>
              <a:t>Protection de la personnalité</a:t>
            </a:r>
          </a:p>
          <a:p>
            <a:pPr marL="355600" marR="5080" indent="-342900">
              <a:lnSpc>
                <a:spcPct val="108700"/>
              </a:lnSpc>
              <a:spcBef>
                <a:spcPts val="100"/>
              </a:spcBef>
              <a:buFont typeface="Wingdings" panose="05000000000000000000" pitchFamily="2" charset="2"/>
              <a:buChar char="ü"/>
            </a:pPr>
            <a:r>
              <a:rPr lang="fr-CH" sz="2150" dirty="0">
                <a:solidFill>
                  <a:srgbClr val="2F4048"/>
                </a:solidFill>
                <a:latin typeface="Arial"/>
                <a:cs typeface="Arial"/>
              </a:rPr>
              <a:t>Dépendances</a:t>
            </a:r>
          </a:p>
        </p:txBody>
      </p:sp>
      <p:sp>
        <p:nvSpPr>
          <p:cNvPr id="17" name="object 6">
            <a:extLst>
              <a:ext uri="{FF2B5EF4-FFF2-40B4-BE49-F238E27FC236}">
                <a16:creationId xmlns:a16="http://schemas.microsoft.com/office/drawing/2014/main" id="{26D2F05D-B02D-2288-B780-DDDFBA41070B}"/>
              </a:ext>
            </a:extLst>
          </p:cNvPr>
          <p:cNvSpPr txBox="1"/>
          <p:nvPr/>
        </p:nvSpPr>
        <p:spPr>
          <a:xfrm>
            <a:off x="5794758" y="2648258"/>
            <a:ext cx="2420313" cy="428964"/>
          </a:xfrm>
          <a:prstGeom prst="rect">
            <a:avLst/>
          </a:prstGeom>
        </p:spPr>
        <p:txBody>
          <a:bodyPr vert="horz" wrap="square" lIns="0" tIns="4381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575"/>
              </a:spcBef>
            </a:pPr>
            <a:r>
              <a:rPr lang="fr-CH" sz="2500" dirty="0">
                <a:solidFill>
                  <a:srgbClr val="FF6600"/>
                </a:solidFill>
                <a:latin typeface="Arial"/>
                <a:cs typeface="Arial"/>
              </a:rPr>
              <a:t>2022</a:t>
            </a:r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435216A7-6909-DC14-7E25-54D8F3A46D0F}"/>
              </a:ext>
            </a:extLst>
          </p:cNvPr>
          <p:cNvSpPr/>
          <p:nvPr/>
        </p:nvSpPr>
        <p:spPr>
          <a:xfrm>
            <a:off x="10364544" y="3373027"/>
            <a:ext cx="533400" cy="564382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0" name="Espace réservé du numéro de diapositive 29">
            <a:extLst>
              <a:ext uri="{FF2B5EF4-FFF2-40B4-BE49-F238E27FC236}">
                <a16:creationId xmlns:a16="http://schemas.microsoft.com/office/drawing/2014/main" id="{A885B411-01B3-50FD-D1DA-35972E8691BB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38100">
              <a:lnSpc>
                <a:spcPts val="1650"/>
              </a:lnSpc>
            </a:pPr>
            <a:fld id="{81D60167-4931-47E6-BA6A-407CBD079E47}" type="slidenum">
              <a:rPr lang="fr-CH" spc="-25" smtClean="0"/>
              <a:t>5</a:t>
            </a:fld>
            <a:endParaRPr lang="fr-CH" spc="-25" dirty="0"/>
          </a:p>
        </p:txBody>
      </p:sp>
      <p:pic>
        <p:nvPicPr>
          <p:cNvPr id="38" name="Graphique 37" descr="Indicateur1 avec un remplissage uni">
            <a:extLst>
              <a:ext uri="{FF2B5EF4-FFF2-40B4-BE49-F238E27FC236}">
                <a16:creationId xmlns:a16="http://schemas.microsoft.com/office/drawing/2014/main" id="{99B37BF3-46D2-EFF1-DD61-13FCD9476B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909297" y="7193002"/>
            <a:ext cx="914400" cy="914400"/>
          </a:xfrm>
          <a:prstGeom prst="rect">
            <a:avLst/>
          </a:prstGeom>
        </p:spPr>
      </p:pic>
      <p:sp>
        <p:nvSpPr>
          <p:cNvPr id="39" name="object 9">
            <a:extLst>
              <a:ext uri="{FF2B5EF4-FFF2-40B4-BE49-F238E27FC236}">
                <a16:creationId xmlns:a16="http://schemas.microsoft.com/office/drawing/2014/main" id="{653372C8-5218-768A-BF96-6FC5933E337F}"/>
              </a:ext>
            </a:extLst>
          </p:cNvPr>
          <p:cNvSpPr txBox="1"/>
          <p:nvPr/>
        </p:nvSpPr>
        <p:spPr>
          <a:xfrm>
            <a:off x="1106349" y="8205390"/>
            <a:ext cx="2323331" cy="71949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l">
              <a:lnSpc>
                <a:spcPct val="108700"/>
              </a:lnSpc>
              <a:spcBef>
                <a:spcPts val="100"/>
              </a:spcBef>
            </a:pPr>
            <a:r>
              <a:rPr lang="fr-CH" sz="2150" dirty="0">
                <a:solidFill>
                  <a:srgbClr val="2F4048"/>
                </a:solidFill>
                <a:latin typeface="Arial"/>
                <a:cs typeface="Arial"/>
              </a:rPr>
              <a:t>Mois de la santé</a:t>
            </a:r>
          </a:p>
          <a:p>
            <a:pPr marL="12700" marR="5080" algn="l">
              <a:lnSpc>
                <a:spcPct val="108700"/>
              </a:lnSpc>
              <a:spcBef>
                <a:spcPts val="100"/>
              </a:spcBef>
            </a:pPr>
            <a:r>
              <a:rPr lang="fr-CH" sz="2150" dirty="0">
                <a:solidFill>
                  <a:srgbClr val="2F4048"/>
                </a:solidFill>
                <a:latin typeface="Arial"/>
                <a:cs typeface="Arial"/>
              </a:rPr>
              <a:t>mentale</a:t>
            </a:r>
          </a:p>
        </p:txBody>
      </p:sp>
      <p:pic>
        <p:nvPicPr>
          <p:cNvPr id="46" name="Graphique 45" descr="Indicateur1 avec un remplissage uni">
            <a:extLst>
              <a:ext uri="{FF2B5EF4-FFF2-40B4-BE49-F238E27FC236}">
                <a16:creationId xmlns:a16="http://schemas.microsoft.com/office/drawing/2014/main" id="{B21A100D-13CE-5609-BFD9-32F2E887B6D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61043" y="7197204"/>
            <a:ext cx="914400" cy="914400"/>
          </a:xfrm>
          <a:prstGeom prst="rect">
            <a:avLst/>
          </a:prstGeom>
        </p:spPr>
      </p:pic>
      <p:sp>
        <p:nvSpPr>
          <p:cNvPr id="65" name="object 12">
            <a:extLst>
              <a:ext uri="{FF2B5EF4-FFF2-40B4-BE49-F238E27FC236}">
                <a16:creationId xmlns:a16="http://schemas.microsoft.com/office/drawing/2014/main" id="{51EA38CF-384B-D5E2-1A70-4C05CA2F7B14}"/>
              </a:ext>
            </a:extLst>
          </p:cNvPr>
          <p:cNvSpPr/>
          <p:nvPr/>
        </p:nvSpPr>
        <p:spPr>
          <a:xfrm>
            <a:off x="1106349" y="7796908"/>
            <a:ext cx="11518781" cy="45719"/>
          </a:xfrm>
          <a:custGeom>
            <a:avLst/>
            <a:gdLst/>
            <a:ahLst/>
            <a:cxnLst/>
            <a:rect l="l" t="t" r="r" b="b"/>
            <a:pathLst>
              <a:path w="17471390">
                <a:moveTo>
                  <a:pt x="0" y="0"/>
                </a:moveTo>
                <a:lnTo>
                  <a:pt x="17471258" y="0"/>
                </a:lnTo>
              </a:path>
            </a:pathLst>
          </a:custGeom>
          <a:ln w="34925">
            <a:solidFill>
              <a:srgbClr val="2F4048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srgbClr val="2F4048"/>
              </a:solidFill>
            </a:endParaRPr>
          </a:p>
        </p:txBody>
      </p:sp>
      <p:sp>
        <p:nvSpPr>
          <p:cNvPr id="66" name="object 13">
            <a:extLst>
              <a:ext uri="{FF2B5EF4-FFF2-40B4-BE49-F238E27FC236}">
                <a16:creationId xmlns:a16="http://schemas.microsoft.com/office/drawing/2014/main" id="{873A88F6-8DAC-9E1C-CE81-D74C5109C6C1}"/>
              </a:ext>
            </a:extLst>
          </p:cNvPr>
          <p:cNvSpPr/>
          <p:nvPr/>
        </p:nvSpPr>
        <p:spPr>
          <a:xfrm>
            <a:off x="12461935" y="7630220"/>
            <a:ext cx="163195" cy="333375"/>
          </a:xfrm>
          <a:custGeom>
            <a:avLst/>
            <a:gdLst/>
            <a:ahLst/>
            <a:cxnLst/>
            <a:rect l="l" t="t" r="r" b="b"/>
            <a:pathLst>
              <a:path w="163194" h="333375">
                <a:moveTo>
                  <a:pt x="0" y="0"/>
                </a:moveTo>
                <a:lnTo>
                  <a:pt x="163157" y="166591"/>
                </a:lnTo>
                <a:lnTo>
                  <a:pt x="41" y="333225"/>
                </a:lnTo>
              </a:path>
            </a:pathLst>
          </a:custGeom>
          <a:ln w="34925">
            <a:solidFill>
              <a:srgbClr val="2F4048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srgbClr val="2F4048"/>
              </a:solidFill>
            </a:endParaRPr>
          </a:p>
        </p:txBody>
      </p:sp>
      <p:sp>
        <p:nvSpPr>
          <p:cNvPr id="67" name="object 6">
            <a:extLst>
              <a:ext uri="{FF2B5EF4-FFF2-40B4-BE49-F238E27FC236}">
                <a16:creationId xmlns:a16="http://schemas.microsoft.com/office/drawing/2014/main" id="{2C7563BB-52C9-C851-3CE7-15580F42BC41}"/>
              </a:ext>
            </a:extLst>
          </p:cNvPr>
          <p:cNvSpPr txBox="1"/>
          <p:nvPr/>
        </p:nvSpPr>
        <p:spPr>
          <a:xfrm>
            <a:off x="1261422" y="6645435"/>
            <a:ext cx="2097405" cy="428964"/>
          </a:xfrm>
          <a:prstGeom prst="rect">
            <a:avLst/>
          </a:prstGeom>
        </p:spPr>
        <p:txBody>
          <a:bodyPr vert="horz" wrap="square" lIns="0" tIns="43815" rIns="0" bIns="0" rtlCol="0">
            <a:spAutoFit/>
          </a:bodyPr>
          <a:lstStyle/>
          <a:p>
            <a:pPr marL="12700" algn="r">
              <a:lnSpc>
                <a:spcPct val="100000"/>
              </a:lnSpc>
              <a:spcBef>
                <a:spcPts val="575"/>
              </a:spcBef>
            </a:pPr>
            <a:r>
              <a:rPr lang="fr-CH" sz="2500" dirty="0">
                <a:solidFill>
                  <a:srgbClr val="2F4048"/>
                </a:solidFill>
                <a:latin typeface="Arial"/>
                <a:cs typeface="Arial"/>
              </a:rPr>
              <a:t>Octobre 2025</a:t>
            </a:r>
            <a:endParaRPr sz="2500" dirty="0">
              <a:solidFill>
                <a:srgbClr val="2F4048"/>
              </a:solidFill>
              <a:latin typeface="Arial"/>
              <a:cs typeface="Arial"/>
            </a:endParaRPr>
          </a:p>
        </p:txBody>
      </p:sp>
      <p:pic>
        <p:nvPicPr>
          <p:cNvPr id="70" name="Graphique 69" descr="Indicateur1 avec un remplissage uni">
            <a:extLst>
              <a:ext uri="{FF2B5EF4-FFF2-40B4-BE49-F238E27FC236}">
                <a16:creationId xmlns:a16="http://schemas.microsoft.com/office/drawing/2014/main" id="{35DFB1E0-41E4-1E12-C5D5-1F4C2E7B239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455444" y="7193002"/>
            <a:ext cx="914400" cy="914400"/>
          </a:xfrm>
          <a:prstGeom prst="rect">
            <a:avLst/>
          </a:prstGeom>
        </p:spPr>
      </p:pic>
      <p:sp>
        <p:nvSpPr>
          <p:cNvPr id="71" name="object 9">
            <a:extLst>
              <a:ext uri="{FF2B5EF4-FFF2-40B4-BE49-F238E27FC236}">
                <a16:creationId xmlns:a16="http://schemas.microsoft.com/office/drawing/2014/main" id="{E69E637E-B7CE-9E02-3D1B-A76067333689}"/>
              </a:ext>
            </a:extLst>
          </p:cNvPr>
          <p:cNvSpPr txBox="1"/>
          <p:nvPr/>
        </p:nvSpPr>
        <p:spPr>
          <a:xfrm>
            <a:off x="4812602" y="8205390"/>
            <a:ext cx="2200083" cy="109292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l">
              <a:lnSpc>
                <a:spcPct val="108700"/>
              </a:lnSpc>
              <a:spcBef>
                <a:spcPts val="100"/>
              </a:spcBef>
            </a:pPr>
            <a:r>
              <a:rPr lang="fr-CH" sz="2150" dirty="0">
                <a:solidFill>
                  <a:srgbClr val="2F4048"/>
                </a:solidFill>
                <a:latin typeface="Arial"/>
                <a:cs typeface="Arial"/>
              </a:rPr>
              <a:t>Gestion saine</a:t>
            </a:r>
          </a:p>
          <a:p>
            <a:pPr marL="12700" marR="5080" algn="l">
              <a:lnSpc>
                <a:spcPct val="108700"/>
              </a:lnSpc>
              <a:spcBef>
                <a:spcPts val="100"/>
              </a:spcBef>
            </a:pPr>
            <a:r>
              <a:rPr lang="fr-CH" sz="2150" dirty="0">
                <a:solidFill>
                  <a:srgbClr val="2F4048"/>
                </a:solidFill>
                <a:latin typeface="Arial"/>
                <a:cs typeface="Arial"/>
              </a:rPr>
              <a:t>Santé physique</a:t>
            </a:r>
          </a:p>
          <a:p>
            <a:pPr marL="12700" marR="5080" algn="l">
              <a:lnSpc>
                <a:spcPct val="108700"/>
              </a:lnSpc>
              <a:spcBef>
                <a:spcPts val="100"/>
              </a:spcBef>
            </a:pPr>
            <a:r>
              <a:rPr lang="fr-CH" sz="2150" dirty="0">
                <a:solidFill>
                  <a:srgbClr val="2F4048"/>
                </a:solidFill>
                <a:latin typeface="Arial"/>
                <a:cs typeface="Arial"/>
              </a:rPr>
              <a:t>Santé pour tous</a:t>
            </a:r>
          </a:p>
        </p:txBody>
      </p:sp>
      <p:sp>
        <p:nvSpPr>
          <p:cNvPr id="72" name="object 6">
            <a:extLst>
              <a:ext uri="{FF2B5EF4-FFF2-40B4-BE49-F238E27FC236}">
                <a16:creationId xmlns:a16="http://schemas.microsoft.com/office/drawing/2014/main" id="{FA37ADDD-41F7-9EEE-29C2-6AE96292B8CC}"/>
              </a:ext>
            </a:extLst>
          </p:cNvPr>
          <p:cNvSpPr txBox="1"/>
          <p:nvPr/>
        </p:nvSpPr>
        <p:spPr>
          <a:xfrm>
            <a:off x="5431929" y="6631689"/>
            <a:ext cx="1811078" cy="428964"/>
          </a:xfrm>
          <a:prstGeom prst="rect">
            <a:avLst/>
          </a:prstGeom>
        </p:spPr>
        <p:txBody>
          <a:bodyPr vert="horz" wrap="square" lIns="0" tIns="43815" rIns="0" bIns="0" rtlCol="0">
            <a:spAutoFit/>
          </a:bodyPr>
          <a:lstStyle/>
          <a:p>
            <a:pPr marL="12700" algn="l">
              <a:lnSpc>
                <a:spcPct val="100000"/>
              </a:lnSpc>
              <a:spcBef>
                <a:spcPts val="575"/>
              </a:spcBef>
            </a:pPr>
            <a:r>
              <a:rPr lang="fr-CH" sz="2500" dirty="0">
                <a:solidFill>
                  <a:srgbClr val="2F4048"/>
                </a:solidFill>
                <a:latin typeface="Arial"/>
                <a:cs typeface="Arial"/>
              </a:rPr>
              <a:t>2026</a:t>
            </a:r>
            <a:endParaRPr sz="2500" dirty="0">
              <a:solidFill>
                <a:srgbClr val="2F4048"/>
              </a:solidFill>
              <a:latin typeface="Arial"/>
              <a:cs typeface="Arial"/>
            </a:endParaRPr>
          </a:p>
        </p:txBody>
      </p:sp>
      <p:sp>
        <p:nvSpPr>
          <p:cNvPr id="29" name="object 6">
            <a:extLst>
              <a:ext uri="{FF2B5EF4-FFF2-40B4-BE49-F238E27FC236}">
                <a16:creationId xmlns:a16="http://schemas.microsoft.com/office/drawing/2014/main" id="{251CECFD-C27E-B9A5-1700-438C5B721F3D}"/>
              </a:ext>
            </a:extLst>
          </p:cNvPr>
          <p:cNvSpPr txBox="1"/>
          <p:nvPr/>
        </p:nvSpPr>
        <p:spPr>
          <a:xfrm>
            <a:off x="8449549" y="6645435"/>
            <a:ext cx="1733119" cy="428964"/>
          </a:xfrm>
          <a:prstGeom prst="rect">
            <a:avLst/>
          </a:prstGeom>
        </p:spPr>
        <p:txBody>
          <a:bodyPr vert="horz" wrap="square" lIns="0" tIns="43815" rIns="0" bIns="0" rtlCol="0">
            <a:spAutoFit/>
          </a:bodyPr>
          <a:lstStyle/>
          <a:p>
            <a:pPr marL="12700" algn="l">
              <a:lnSpc>
                <a:spcPct val="100000"/>
              </a:lnSpc>
              <a:spcBef>
                <a:spcPts val="575"/>
              </a:spcBef>
            </a:pPr>
            <a:r>
              <a:rPr lang="fr-CH" sz="2500" dirty="0">
                <a:solidFill>
                  <a:srgbClr val="2F4048"/>
                </a:solidFill>
                <a:latin typeface="Arial"/>
                <a:cs typeface="Arial"/>
              </a:rPr>
              <a:t>2027</a:t>
            </a:r>
            <a:endParaRPr sz="2500" dirty="0">
              <a:solidFill>
                <a:srgbClr val="2F4048"/>
              </a:solidFill>
              <a:latin typeface="Arial"/>
              <a:cs typeface="Arial"/>
            </a:endParaRPr>
          </a:p>
        </p:txBody>
      </p:sp>
      <p:sp>
        <p:nvSpPr>
          <p:cNvPr id="31" name="object 9">
            <a:extLst>
              <a:ext uri="{FF2B5EF4-FFF2-40B4-BE49-F238E27FC236}">
                <a16:creationId xmlns:a16="http://schemas.microsoft.com/office/drawing/2014/main" id="{C9D0C3E0-FB62-462E-3DB2-5F171AFBFF65}"/>
              </a:ext>
            </a:extLst>
          </p:cNvPr>
          <p:cNvSpPr txBox="1"/>
          <p:nvPr/>
        </p:nvSpPr>
        <p:spPr>
          <a:xfrm>
            <a:off x="9495265" y="4270528"/>
            <a:ext cx="3638557" cy="109292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55600" marR="5080" indent="-342900">
              <a:lnSpc>
                <a:spcPct val="108700"/>
              </a:lnSpc>
              <a:spcBef>
                <a:spcPts val="100"/>
              </a:spcBef>
              <a:buFont typeface="Wingdings" panose="05000000000000000000" pitchFamily="2" charset="2"/>
              <a:buChar char="ü"/>
            </a:pPr>
            <a:r>
              <a:rPr lang="fr-CH" sz="2150" dirty="0">
                <a:solidFill>
                  <a:srgbClr val="2F4048"/>
                </a:solidFill>
                <a:latin typeface="Arial"/>
                <a:cs typeface="Arial"/>
              </a:rPr>
              <a:t>Protection de la maternité</a:t>
            </a:r>
          </a:p>
          <a:p>
            <a:pPr marL="355600" marR="5080" indent="-342900">
              <a:lnSpc>
                <a:spcPct val="108700"/>
              </a:lnSpc>
              <a:spcBef>
                <a:spcPts val="100"/>
              </a:spcBef>
              <a:buFont typeface="Wingdings" panose="05000000000000000000" pitchFamily="2" charset="2"/>
              <a:buChar char="ü"/>
            </a:pPr>
            <a:r>
              <a:rPr lang="fr-CH" sz="2150" dirty="0">
                <a:solidFill>
                  <a:srgbClr val="2F4048"/>
                </a:solidFill>
                <a:latin typeface="Arial"/>
                <a:cs typeface="Arial"/>
              </a:rPr>
              <a:t>Jeunes travailleurs</a:t>
            </a:r>
          </a:p>
          <a:p>
            <a:pPr marL="355600" marR="5080" indent="-342900">
              <a:lnSpc>
                <a:spcPct val="108700"/>
              </a:lnSpc>
              <a:spcBef>
                <a:spcPts val="100"/>
              </a:spcBef>
              <a:buFont typeface="Wingdings" panose="05000000000000000000" pitchFamily="2" charset="2"/>
              <a:buChar char="ü"/>
            </a:pPr>
            <a:r>
              <a:rPr lang="fr-CH" sz="2150" dirty="0">
                <a:solidFill>
                  <a:srgbClr val="2F4048"/>
                </a:solidFill>
                <a:latin typeface="Arial"/>
                <a:cs typeface="Arial"/>
              </a:rPr>
              <a:t>Contraintes thermiques</a:t>
            </a:r>
          </a:p>
        </p:txBody>
      </p:sp>
      <p:sp>
        <p:nvSpPr>
          <p:cNvPr id="33" name="Ellipse 32">
            <a:extLst>
              <a:ext uri="{FF2B5EF4-FFF2-40B4-BE49-F238E27FC236}">
                <a16:creationId xmlns:a16="http://schemas.microsoft.com/office/drawing/2014/main" id="{53614ABD-59B2-6425-8A6A-DC47E93B09D1}"/>
              </a:ext>
            </a:extLst>
          </p:cNvPr>
          <p:cNvSpPr/>
          <p:nvPr/>
        </p:nvSpPr>
        <p:spPr>
          <a:xfrm>
            <a:off x="6709607" y="3373027"/>
            <a:ext cx="533400" cy="564382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object 6">
            <a:extLst>
              <a:ext uri="{FF2B5EF4-FFF2-40B4-BE49-F238E27FC236}">
                <a16:creationId xmlns:a16="http://schemas.microsoft.com/office/drawing/2014/main" id="{A59414F6-286E-A433-012F-A69D9002B545}"/>
              </a:ext>
            </a:extLst>
          </p:cNvPr>
          <p:cNvSpPr txBox="1"/>
          <p:nvPr/>
        </p:nvSpPr>
        <p:spPr>
          <a:xfrm>
            <a:off x="9464290" y="2648258"/>
            <a:ext cx="2420313" cy="428964"/>
          </a:xfrm>
          <a:prstGeom prst="rect">
            <a:avLst/>
          </a:prstGeom>
        </p:spPr>
        <p:txBody>
          <a:bodyPr vert="horz" wrap="square" lIns="0" tIns="4381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575"/>
              </a:spcBef>
            </a:pPr>
            <a:r>
              <a:rPr lang="fr-CH" sz="2500" dirty="0">
                <a:solidFill>
                  <a:srgbClr val="FF6600"/>
                </a:solidFill>
                <a:latin typeface="Arial"/>
                <a:cs typeface="Arial"/>
              </a:rPr>
              <a:t>2023</a:t>
            </a:r>
          </a:p>
        </p:txBody>
      </p:sp>
      <p:sp>
        <p:nvSpPr>
          <p:cNvPr id="5" name="object 6">
            <a:extLst>
              <a:ext uri="{FF2B5EF4-FFF2-40B4-BE49-F238E27FC236}">
                <a16:creationId xmlns:a16="http://schemas.microsoft.com/office/drawing/2014/main" id="{F219A925-0C8A-C7DA-C707-3F6D414C3C21}"/>
              </a:ext>
            </a:extLst>
          </p:cNvPr>
          <p:cNvSpPr txBox="1"/>
          <p:nvPr/>
        </p:nvSpPr>
        <p:spPr>
          <a:xfrm>
            <a:off x="12798565" y="2648258"/>
            <a:ext cx="2420313" cy="428964"/>
          </a:xfrm>
          <a:prstGeom prst="rect">
            <a:avLst/>
          </a:prstGeom>
        </p:spPr>
        <p:txBody>
          <a:bodyPr vert="horz" wrap="square" lIns="0" tIns="4381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575"/>
              </a:spcBef>
            </a:pPr>
            <a:r>
              <a:rPr lang="fr-CH" sz="2500" dirty="0">
                <a:solidFill>
                  <a:srgbClr val="FF6600"/>
                </a:solidFill>
                <a:latin typeface="Arial"/>
                <a:cs typeface="Arial"/>
              </a:rPr>
              <a:t>2024</a:t>
            </a:r>
          </a:p>
        </p:txBody>
      </p:sp>
      <p:sp>
        <p:nvSpPr>
          <p:cNvPr id="6" name="object 9">
            <a:extLst>
              <a:ext uri="{FF2B5EF4-FFF2-40B4-BE49-F238E27FC236}">
                <a16:creationId xmlns:a16="http://schemas.microsoft.com/office/drawing/2014/main" id="{F033AABA-5EE7-9713-BF99-EEA7A0D991E5}"/>
              </a:ext>
            </a:extLst>
          </p:cNvPr>
          <p:cNvSpPr txBox="1"/>
          <p:nvPr/>
        </p:nvSpPr>
        <p:spPr>
          <a:xfrm>
            <a:off x="13846323" y="4270528"/>
            <a:ext cx="4980520" cy="22004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55600" marR="5080" indent="-342900">
              <a:lnSpc>
                <a:spcPct val="108700"/>
              </a:lnSpc>
              <a:spcBef>
                <a:spcPts val="100"/>
              </a:spcBef>
              <a:buFont typeface="Wingdings" panose="05000000000000000000" pitchFamily="2" charset="2"/>
              <a:buChar char="ü"/>
            </a:pPr>
            <a:r>
              <a:rPr lang="fr-CH" sz="2150" dirty="0">
                <a:solidFill>
                  <a:srgbClr val="2F4048"/>
                </a:solidFill>
                <a:latin typeface="Arial"/>
                <a:cs typeface="Arial"/>
              </a:rPr>
              <a:t>Alimentation</a:t>
            </a:r>
          </a:p>
          <a:p>
            <a:pPr marL="355600" marR="5080" indent="-342900">
              <a:lnSpc>
                <a:spcPct val="108700"/>
              </a:lnSpc>
              <a:spcBef>
                <a:spcPts val="100"/>
              </a:spcBef>
              <a:buFont typeface="Wingdings" panose="05000000000000000000" pitchFamily="2" charset="2"/>
              <a:buChar char="ü"/>
            </a:pPr>
            <a:r>
              <a:rPr lang="fr-CH" sz="2150" dirty="0">
                <a:solidFill>
                  <a:srgbClr val="2F4048"/>
                </a:solidFill>
                <a:latin typeface="Arial"/>
                <a:cs typeface="Arial"/>
              </a:rPr>
              <a:t>Santé physique</a:t>
            </a:r>
          </a:p>
          <a:p>
            <a:pPr marL="355600" marR="5080" indent="-342900">
              <a:lnSpc>
                <a:spcPct val="108700"/>
              </a:lnSpc>
              <a:spcBef>
                <a:spcPts val="100"/>
              </a:spcBef>
              <a:buFont typeface="Wingdings" panose="05000000000000000000" pitchFamily="2" charset="2"/>
              <a:buChar char="ü"/>
            </a:pPr>
            <a:r>
              <a:rPr lang="fr-CH" sz="2150" dirty="0">
                <a:solidFill>
                  <a:srgbClr val="2F4048"/>
                </a:solidFill>
                <a:latin typeface="Arial"/>
                <a:cs typeface="Arial"/>
              </a:rPr>
              <a:t>Santé psychique</a:t>
            </a:r>
          </a:p>
          <a:p>
            <a:pPr marL="355600" marR="5080" indent="-342900">
              <a:lnSpc>
                <a:spcPct val="108700"/>
              </a:lnSpc>
              <a:spcBef>
                <a:spcPts val="100"/>
              </a:spcBef>
              <a:buFont typeface="Wingdings" panose="05000000000000000000" pitchFamily="2" charset="2"/>
              <a:buChar char="ü"/>
            </a:pPr>
            <a:r>
              <a:rPr lang="fr-CH" sz="2150" dirty="0" err="1">
                <a:solidFill>
                  <a:srgbClr val="2F4048"/>
                </a:solidFill>
                <a:latin typeface="Arial"/>
                <a:cs typeface="Arial"/>
              </a:rPr>
              <a:t>Recertification</a:t>
            </a:r>
            <a:r>
              <a:rPr lang="fr-CH" sz="2150" dirty="0">
                <a:solidFill>
                  <a:srgbClr val="2F4048"/>
                </a:solidFill>
                <a:latin typeface="Arial"/>
                <a:cs typeface="Arial"/>
              </a:rPr>
              <a:t> et label</a:t>
            </a:r>
          </a:p>
          <a:p>
            <a:pPr marL="12700" marR="5080">
              <a:lnSpc>
                <a:spcPct val="108700"/>
              </a:lnSpc>
              <a:spcBef>
                <a:spcPts val="100"/>
              </a:spcBef>
            </a:pPr>
            <a:r>
              <a:rPr lang="fr-CH" sz="2150" dirty="0">
                <a:solidFill>
                  <a:srgbClr val="2F4048"/>
                </a:solidFill>
                <a:latin typeface="Arial"/>
                <a:cs typeface="Arial"/>
              </a:rPr>
              <a:t>-&gt; Déploiement de la nouvelle stratégie GSE 2024-2027</a:t>
            </a:r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33FFE798-C169-61CA-F2F3-4E77F74B6142}"/>
              </a:ext>
            </a:extLst>
          </p:cNvPr>
          <p:cNvSpPr/>
          <p:nvPr/>
        </p:nvSpPr>
        <p:spPr>
          <a:xfrm>
            <a:off x="13742022" y="3373027"/>
            <a:ext cx="533400" cy="564382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15261992-3B2D-809F-4D36-369BB119C436}"/>
              </a:ext>
            </a:extLst>
          </p:cNvPr>
          <p:cNvSpPr/>
          <p:nvPr/>
        </p:nvSpPr>
        <p:spPr>
          <a:xfrm>
            <a:off x="16014275" y="3373027"/>
            <a:ext cx="533400" cy="564382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object 6">
            <a:extLst>
              <a:ext uri="{FF2B5EF4-FFF2-40B4-BE49-F238E27FC236}">
                <a16:creationId xmlns:a16="http://schemas.microsoft.com/office/drawing/2014/main" id="{2E171234-1FEB-3C56-1425-A0380C03927B}"/>
              </a:ext>
            </a:extLst>
          </p:cNvPr>
          <p:cNvSpPr txBox="1"/>
          <p:nvPr/>
        </p:nvSpPr>
        <p:spPr>
          <a:xfrm>
            <a:off x="14918582" y="2648258"/>
            <a:ext cx="2420313" cy="428964"/>
          </a:xfrm>
          <a:prstGeom prst="rect">
            <a:avLst/>
          </a:prstGeom>
        </p:spPr>
        <p:txBody>
          <a:bodyPr vert="horz" wrap="square" lIns="0" tIns="4381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575"/>
              </a:spcBef>
            </a:pPr>
            <a:r>
              <a:rPr lang="fr-CH" sz="2500" dirty="0">
                <a:solidFill>
                  <a:srgbClr val="FF6600"/>
                </a:solidFill>
                <a:latin typeface="Arial"/>
                <a:cs typeface="Arial"/>
              </a:rPr>
              <a:t>2025</a:t>
            </a:r>
          </a:p>
        </p:txBody>
      </p:sp>
      <p:sp>
        <p:nvSpPr>
          <p:cNvPr id="14" name="object 9">
            <a:extLst>
              <a:ext uri="{FF2B5EF4-FFF2-40B4-BE49-F238E27FC236}">
                <a16:creationId xmlns:a16="http://schemas.microsoft.com/office/drawing/2014/main" id="{F0E311C9-3155-BA6C-200E-8F6D639D06BB}"/>
              </a:ext>
            </a:extLst>
          </p:cNvPr>
          <p:cNvSpPr txBox="1"/>
          <p:nvPr/>
        </p:nvSpPr>
        <p:spPr>
          <a:xfrm>
            <a:off x="8074901" y="8205390"/>
            <a:ext cx="4723664" cy="108010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l">
              <a:lnSpc>
                <a:spcPct val="108700"/>
              </a:lnSpc>
              <a:spcBef>
                <a:spcPts val="100"/>
              </a:spcBef>
            </a:pPr>
            <a:r>
              <a:rPr lang="fr-CH" sz="2150" dirty="0" err="1">
                <a:solidFill>
                  <a:srgbClr val="2F4048"/>
                </a:solidFill>
                <a:latin typeface="Arial"/>
                <a:cs typeface="Arial"/>
              </a:rPr>
              <a:t>Recertification</a:t>
            </a:r>
            <a:r>
              <a:rPr lang="fr-CH" sz="2150" dirty="0">
                <a:solidFill>
                  <a:srgbClr val="2F4048"/>
                </a:solidFill>
                <a:latin typeface="Arial"/>
                <a:cs typeface="Arial"/>
              </a:rPr>
              <a:t> FWS</a:t>
            </a:r>
          </a:p>
          <a:p>
            <a:pPr marL="12700" marR="5080" algn="l">
              <a:lnSpc>
                <a:spcPct val="108700"/>
              </a:lnSpc>
              <a:spcBef>
                <a:spcPts val="100"/>
              </a:spcBef>
            </a:pPr>
            <a:r>
              <a:rPr lang="fr-CH" sz="2150" dirty="0">
                <a:solidFill>
                  <a:srgbClr val="2F4048"/>
                </a:solidFill>
                <a:latin typeface="Arial"/>
                <a:cs typeface="Arial"/>
              </a:rPr>
              <a:t>-&gt; Déploiement de la nouvelle stratégie GSE à l’horizon 2030</a:t>
            </a:r>
          </a:p>
        </p:txBody>
      </p:sp>
    </p:spTree>
    <p:extLst>
      <p:ext uri="{BB962C8B-B14F-4D97-AF65-F5344CB8AC3E}">
        <p14:creationId xmlns:p14="http://schemas.microsoft.com/office/powerpoint/2010/main" val="37912308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C7B3F7-B026-A490-3590-85F0D28C35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26">
            <a:extLst>
              <a:ext uri="{FF2B5EF4-FFF2-40B4-BE49-F238E27FC236}">
                <a16:creationId xmlns:a16="http://schemas.microsoft.com/office/drawing/2014/main" id="{4B7A86DF-6A12-B082-68D3-A2FB73B8EA5E}"/>
              </a:ext>
            </a:extLst>
          </p:cNvPr>
          <p:cNvSpPr/>
          <p:nvPr/>
        </p:nvSpPr>
        <p:spPr>
          <a:xfrm>
            <a:off x="1350603" y="2255285"/>
            <a:ext cx="4135798" cy="8207627"/>
          </a:xfrm>
          <a:custGeom>
            <a:avLst/>
            <a:gdLst/>
            <a:ahLst/>
            <a:cxnLst/>
            <a:rect l="l" t="t" r="r" b="b"/>
            <a:pathLst>
              <a:path w="7865109" h="6408420">
                <a:moveTo>
                  <a:pt x="7864797" y="0"/>
                </a:moveTo>
                <a:lnTo>
                  <a:pt x="0" y="0"/>
                </a:lnTo>
                <a:lnTo>
                  <a:pt x="0" y="6408181"/>
                </a:lnTo>
                <a:lnTo>
                  <a:pt x="7864797" y="6408181"/>
                </a:lnTo>
                <a:lnTo>
                  <a:pt x="7864797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57F4A1B-A739-40E9-9FB1-405075E371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274" imgH="274" progId="TCLayout.ActiveDocument.1">
                  <p:embed/>
                </p:oleObj>
              </mc:Choice>
              <mc:Fallback>
                <p:oleObj name="Diapositive think-cell" r:id="rId4" imgW="274" imgH="27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7F4A1B-A739-40E9-9FB1-405075E371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object 25">
            <a:extLst>
              <a:ext uri="{FF2B5EF4-FFF2-40B4-BE49-F238E27FC236}">
                <a16:creationId xmlns:a16="http://schemas.microsoft.com/office/drawing/2014/main" id="{57E7CDEA-6146-A48C-06D4-83D080B941C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350602" y="846438"/>
            <a:ext cx="17383125" cy="1015663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spcBef>
                <a:spcPts val="120"/>
              </a:spcBef>
            </a:pPr>
            <a:r>
              <a:rPr lang="fr-CH" dirty="0"/>
              <a:t>Résultats &amp; bénéfices</a:t>
            </a:r>
            <a:br>
              <a:rPr lang="fr-CH" dirty="0"/>
            </a:br>
            <a:r>
              <a:rPr kumimoji="0" lang="fr-FR" sz="2400" i="0" u="none" strike="noStrike" kern="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Un engagement reconnu pour la santé, l’inclusion et la performance durable</a:t>
            </a:r>
            <a:endParaRPr lang="fr-CH" dirty="0">
              <a:solidFill>
                <a:srgbClr val="FF6600"/>
              </a:solidFill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5C9AA378-AD0A-E2C4-D160-B43C9A0C8F9A}"/>
              </a:ext>
            </a:extLst>
          </p:cNvPr>
          <p:cNvSpPr txBox="1"/>
          <p:nvPr/>
        </p:nvSpPr>
        <p:spPr>
          <a:xfrm>
            <a:off x="1775144" y="2519155"/>
            <a:ext cx="714025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2400" b="1" dirty="0">
                <a:solidFill>
                  <a:srgbClr val="2F4048"/>
                </a:solidFill>
                <a:latin typeface="Arial"/>
                <a:cs typeface="Arial"/>
              </a:rPr>
              <a:t>Certification &amp; labels</a:t>
            </a:r>
            <a:endParaRPr lang="en-US" sz="2400" dirty="0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1904871A-7FC7-2F21-8660-6280E5737CF1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38100">
              <a:lnSpc>
                <a:spcPts val="1650"/>
              </a:lnSpc>
            </a:pPr>
            <a:fld id="{81D60167-4931-47E6-BA6A-407CBD079E47}" type="slidenum">
              <a:rPr lang="fr-CH" spc="-25" smtClean="0"/>
              <a:t>6</a:t>
            </a:fld>
            <a:endParaRPr lang="fr-CH" spc="-25"/>
          </a:p>
        </p:txBody>
      </p:sp>
      <p:sp>
        <p:nvSpPr>
          <p:cNvPr id="26" name="object 26">
            <a:extLst>
              <a:ext uri="{FF2B5EF4-FFF2-40B4-BE49-F238E27FC236}">
                <a16:creationId xmlns:a16="http://schemas.microsoft.com/office/drawing/2014/main" id="{B2C57A60-7A33-9469-5366-BD900E115C8C}"/>
              </a:ext>
            </a:extLst>
          </p:cNvPr>
          <p:cNvSpPr/>
          <p:nvPr/>
        </p:nvSpPr>
        <p:spPr>
          <a:xfrm>
            <a:off x="6131245" y="2255284"/>
            <a:ext cx="6017212" cy="8207628"/>
          </a:xfrm>
          <a:custGeom>
            <a:avLst/>
            <a:gdLst/>
            <a:ahLst/>
            <a:cxnLst/>
            <a:rect l="l" t="t" r="r" b="b"/>
            <a:pathLst>
              <a:path w="7865109" h="6408420">
                <a:moveTo>
                  <a:pt x="7864797" y="0"/>
                </a:moveTo>
                <a:lnTo>
                  <a:pt x="0" y="0"/>
                </a:lnTo>
                <a:lnTo>
                  <a:pt x="0" y="6408181"/>
                </a:lnTo>
                <a:lnTo>
                  <a:pt x="7864797" y="6408181"/>
                </a:lnTo>
                <a:lnTo>
                  <a:pt x="7864797" y="0"/>
                </a:lnTo>
                <a:close/>
              </a:path>
            </a:pathLst>
          </a:custGeom>
          <a:solidFill>
            <a:srgbClr val="EDF0F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812D6976-CA0C-5EDA-CEBD-E4EC72F12293}"/>
              </a:ext>
            </a:extLst>
          </p:cNvPr>
          <p:cNvSpPr txBox="1"/>
          <p:nvPr/>
        </p:nvSpPr>
        <p:spPr>
          <a:xfrm>
            <a:off x="6481922" y="2523710"/>
            <a:ext cx="496440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2400" b="1" dirty="0">
                <a:solidFill>
                  <a:srgbClr val="2F4048"/>
                </a:solidFill>
                <a:latin typeface="Arial"/>
                <a:cs typeface="Arial"/>
              </a:rPr>
              <a:t>Résultats clés</a:t>
            </a:r>
            <a:endParaRPr lang="en-US" sz="2400" dirty="0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456F7F64-993D-44AA-C890-206B62269CB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38983" y="3097853"/>
            <a:ext cx="1535689" cy="1620112"/>
          </a:xfrm>
          <a:prstGeom prst="flowChartConnector">
            <a:avLst/>
          </a:prstGeom>
        </p:spPr>
      </p:pic>
      <p:pic>
        <p:nvPicPr>
          <p:cNvPr id="10" name="Image 9" descr="Une image contenant Graphique, graphisme, Police, Caractère coloré&#10;&#10;Description générée automatiquement">
            <a:extLst>
              <a:ext uri="{FF2B5EF4-FFF2-40B4-BE49-F238E27FC236}">
                <a16:creationId xmlns:a16="http://schemas.microsoft.com/office/drawing/2014/main" id="{DA513005-AE0D-8869-81C8-D93A5936B16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3016" y="8140246"/>
            <a:ext cx="2169640" cy="1116602"/>
          </a:xfrm>
          <a:prstGeom prst="rect">
            <a:avLst/>
          </a:prstGeom>
        </p:spPr>
      </p:pic>
      <p:pic>
        <p:nvPicPr>
          <p:cNvPr id="1032" name="Picture 8" descr="Label 1+ pour tous – FTI">
            <a:extLst>
              <a:ext uri="{FF2B5EF4-FFF2-40B4-BE49-F238E27FC236}">
                <a16:creationId xmlns:a16="http://schemas.microsoft.com/office/drawing/2014/main" id="{F1AD6A07-F368-F516-237B-645D718CF1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7514" y="6493856"/>
            <a:ext cx="1558625" cy="1475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Excellent: We Pay Fair">
            <a:extLst>
              <a:ext uri="{FF2B5EF4-FFF2-40B4-BE49-F238E27FC236}">
                <a16:creationId xmlns:a16="http://schemas.microsoft.com/office/drawing/2014/main" id="{1FD391E9-B606-4E41-7B48-B4118AF887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3016" y="4750477"/>
            <a:ext cx="1892727" cy="1620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Pourquoi choisir un organisme certifié EduQua à Genève, Lausanne, Nyon ou  dans le canton de Vaud ? - HOSHIN PARTNERS">
            <a:extLst>
              <a:ext uri="{FF2B5EF4-FFF2-40B4-BE49-F238E27FC236}">
                <a16:creationId xmlns:a16="http://schemas.microsoft.com/office/drawing/2014/main" id="{3EAE8535-6491-14C5-E29A-209A4956CD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0602" y="9284897"/>
            <a:ext cx="2568255" cy="1149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1">
            <a:extLst>
              <a:ext uri="{FF2B5EF4-FFF2-40B4-BE49-F238E27FC236}">
                <a16:creationId xmlns:a16="http://schemas.microsoft.com/office/drawing/2014/main" id="{2921B27F-2807-4F47-C838-79B19249A1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81922" y="3244690"/>
            <a:ext cx="4735807" cy="41903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285750" marR="0" lvl="0" indent="-28575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kumimoji="0" lang="fr-FR" altLang="fr-FR" sz="2000" b="1" i="0" u="none" strike="noStrike" cap="none" normalizeH="0" baseline="0" dirty="0">
                <a:ln>
                  <a:noFill/>
                </a:ln>
                <a:solidFill>
                  <a:srgbClr val="2F4048"/>
                </a:solidFill>
                <a:effectLst/>
                <a:latin typeface="Arial" panose="020B0604020202020204" pitchFamily="34" charset="0"/>
              </a:rPr>
              <a:t>Distinction </a:t>
            </a:r>
            <a:r>
              <a:rPr kumimoji="0" lang="fr-FR" altLang="fr-FR" sz="2000" b="1" i="0" u="none" strike="noStrike" cap="none" normalizeH="0" baseline="0" dirty="0" err="1">
                <a:ln>
                  <a:noFill/>
                </a:ln>
                <a:solidFill>
                  <a:srgbClr val="2F4048"/>
                </a:solidFill>
                <a:effectLst/>
                <a:latin typeface="Arial" panose="020B0604020202020204" pitchFamily="34" charset="0"/>
              </a:rPr>
              <a:t>Friendly</a:t>
            </a:r>
            <a:r>
              <a:rPr kumimoji="0" lang="fr-FR" altLang="fr-FR" sz="2000" b="1" i="0" u="none" strike="noStrike" cap="none" normalizeH="0" baseline="0" dirty="0">
                <a:ln>
                  <a:noFill/>
                </a:ln>
                <a:solidFill>
                  <a:srgbClr val="2F4048"/>
                </a:solidFill>
                <a:effectLst/>
                <a:latin typeface="Arial" panose="020B0604020202020204" pitchFamily="34" charset="0"/>
              </a:rPr>
              <a:t> Work </a:t>
            </a:r>
            <a:r>
              <a:rPr kumimoji="0" lang="fr-FR" altLang="fr-FR" sz="2000" b="1" i="0" u="none" strike="noStrike" cap="none" normalizeH="0" baseline="0" dirty="0" err="1">
                <a:ln>
                  <a:noFill/>
                </a:ln>
                <a:solidFill>
                  <a:srgbClr val="2F4048"/>
                </a:solidFill>
                <a:effectLst/>
                <a:latin typeface="Arial" panose="020B0604020202020204" pitchFamily="34" charset="0"/>
              </a:rPr>
              <a:t>Space</a:t>
            </a:r>
            <a:r>
              <a:rPr kumimoji="0" lang="fr-FR" altLang="fr-FR" sz="2000" b="0" i="0" u="none" strike="noStrike" cap="none" normalizeH="0" baseline="0" dirty="0">
                <a:ln>
                  <a:noFill/>
                </a:ln>
                <a:solidFill>
                  <a:srgbClr val="2F4048"/>
                </a:solidFill>
                <a:effectLst/>
                <a:latin typeface="Arial" panose="020B0604020202020204" pitchFamily="34" charset="0"/>
              </a:rPr>
              <a:t> – évaluation par auditeurs externes</a:t>
            </a:r>
          </a:p>
          <a:p>
            <a:pPr marL="285750" marR="0" lvl="0" indent="-28575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kumimoji="0" lang="fr-FR" altLang="fr-FR" sz="2000" b="1" i="0" u="none" strike="noStrike" cap="none" normalizeH="0" baseline="0" dirty="0">
                <a:ln>
                  <a:noFill/>
                </a:ln>
                <a:solidFill>
                  <a:srgbClr val="2F4048"/>
                </a:solidFill>
                <a:effectLst/>
                <a:latin typeface="Arial" panose="020B0604020202020204" pitchFamily="34" charset="0"/>
              </a:rPr>
              <a:t>Stratégie proactive</a:t>
            </a:r>
            <a:r>
              <a:rPr kumimoji="0" lang="fr-FR" altLang="fr-FR" sz="2000" b="0" i="0" u="none" strike="noStrike" cap="none" normalizeH="0" baseline="0" dirty="0">
                <a:ln>
                  <a:noFill/>
                </a:ln>
                <a:solidFill>
                  <a:srgbClr val="2F4048"/>
                </a:solidFill>
                <a:effectLst/>
                <a:latin typeface="Arial" panose="020B0604020202020204" pitchFamily="34" charset="0"/>
              </a:rPr>
              <a:t> : santé, bien-être, diversité &amp; inclusion</a:t>
            </a:r>
          </a:p>
          <a:p>
            <a:pPr marL="285750" marR="0" lvl="0" indent="-28575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kumimoji="0" lang="fr-FR" altLang="fr-FR" sz="2000" b="1" i="0" u="none" strike="noStrike" cap="none" normalizeH="0" baseline="0" dirty="0">
                <a:ln>
                  <a:noFill/>
                </a:ln>
                <a:solidFill>
                  <a:srgbClr val="2F4048"/>
                </a:solidFill>
                <a:effectLst/>
                <a:latin typeface="Arial" panose="020B0604020202020204" pitchFamily="34" charset="0"/>
              </a:rPr>
              <a:t>Environnement attractif et motivant</a:t>
            </a:r>
            <a:endParaRPr kumimoji="0" lang="fr-FR" altLang="fr-FR" sz="2000" b="0" i="0" u="none" strike="noStrike" cap="none" normalizeH="0" baseline="0" dirty="0">
              <a:ln>
                <a:noFill/>
              </a:ln>
              <a:solidFill>
                <a:srgbClr val="2F4048"/>
              </a:solidFill>
              <a:effectLst/>
              <a:latin typeface="Arial" panose="020B0604020202020204" pitchFamily="34" charset="0"/>
            </a:endParaRPr>
          </a:p>
          <a:p>
            <a:pPr marL="285750" marR="0" lvl="0" indent="-28575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kumimoji="0" lang="fr-FR" altLang="fr-FR" sz="2000" b="1" i="0" u="none" strike="noStrike" cap="none" normalizeH="0" baseline="0" dirty="0">
                <a:ln>
                  <a:noFill/>
                </a:ln>
                <a:solidFill>
                  <a:srgbClr val="2F4048"/>
                </a:solidFill>
                <a:effectLst/>
                <a:latin typeface="Arial" panose="020B0604020202020204" pitchFamily="34" charset="0"/>
              </a:rPr>
              <a:t>Collaboration renforcée</a:t>
            </a:r>
            <a:r>
              <a:rPr kumimoji="0" lang="fr-FR" altLang="fr-FR" sz="2000" b="0" i="0" u="none" strike="noStrike" cap="none" normalizeH="0" baseline="0" dirty="0">
                <a:ln>
                  <a:noFill/>
                </a:ln>
                <a:solidFill>
                  <a:srgbClr val="2F4048"/>
                </a:solidFill>
                <a:effectLst/>
                <a:latin typeface="Arial" panose="020B0604020202020204" pitchFamily="34" charset="0"/>
              </a:rPr>
              <a:t> avec partenaires internes &amp; externes</a:t>
            </a:r>
          </a:p>
          <a:p>
            <a:pPr marL="285750" marR="0" lvl="0" indent="-28575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kumimoji="0" lang="fr-FR" altLang="fr-FR" sz="2000" b="1" i="0" u="none" strike="noStrike" cap="none" normalizeH="0" baseline="0" dirty="0">
                <a:ln>
                  <a:noFill/>
                </a:ln>
                <a:solidFill>
                  <a:srgbClr val="2F4048"/>
                </a:solidFill>
                <a:effectLst/>
                <a:latin typeface="Arial" panose="020B0604020202020204" pitchFamily="34" charset="0"/>
              </a:rPr>
              <a:t>Actions durables</a:t>
            </a:r>
            <a:r>
              <a:rPr kumimoji="0" lang="fr-FR" altLang="fr-FR" sz="2000" b="0" i="0" u="none" strike="noStrike" cap="none" normalizeH="0" baseline="0" dirty="0">
                <a:ln>
                  <a:noFill/>
                </a:ln>
                <a:solidFill>
                  <a:srgbClr val="2F4048"/>
                </a:solidFill>
                <a:effectLst/>
                <a:latin typeface="Arial" panose="020B0604020202020204" pitchFamily="34" charset="0"/>
              </a:rPr>
              <a:t> et mesurables</a:t>
            </a:r>
          </a:p>
        </p:txBody>
      </p:sp>
      <p:pic>
        <p:nvPicPr>
          <p:cNvPr id="7" name="Graphique 6" descr="Badge coche avec un remplissage uni">
            <a:extLst>
              <a:ext uri="{FF2B5EF4-FFF2-40B4-BE49-F238E27FC236}">
                <a16:creationId xmlns:a16="http://schemas.microsoft.com/office/drawing/2014/main" id="{9008E1C5-F894-A0AF-00B4-AAA5AAF5DC1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992039" y="8019213"/>
            <a:ext cx="1715571" cy="1715571"/>
          </a:xfrm>
          <a:prstGeom prst="rect">
            <a:avLst/>
          </a:prstGeom>
        </p:spPr>
      </p:pic>
      <p:sp>
        <p:nvSpPr>
          <p:cNvPr id="8" name="object 26">
            <a:extLst>
              <a:ext uri="{FF2B5EF4-FFF2-40B4-BE49-F238E27FC236}">
                <a16:creationId xmlns:a16="http://schemas.microsoft.com/office/drawing/2014/main" id="{C7510A5B-7E40-8C80-7BDC-DB97D90F5276}"/>
              </a:ext>
            </a:extLst>
          </p:cNvPr>
          <p:cNvSpPr/>
          <p:nvPr/>
        </p:nvSpPr>
        <p:spPr>
          <a:xfrm>
            <a:off x="12793301" y="2255284"/>
            <a:ext cx="6017212" cy="8207628"/>
          </a:xfrm>
          <a:custGeom>
            <a:avLst/>
            <a:gdLst/>
            <a:ahLst/>
            <a:cxnLst/>
            <a:rect l="l" t="t" r="r" b="b"/>
            <a:pathLst>
              <a:path w="7865109" h="6408420">
                <a:moveTo>
                  <a:pt x="7864797" y="0"/>
                </a:moveTo>
                <a:lnTo>
                  <a:pt x="0" y="0"/>
                </a:lnTo>
                <a:lnTo>
                  <a:pt x="0" y="6408181"/>
                </a:lnTo>
                <a:lnTo>
                  <a:pt x="7864797" y="6408181"/>
                </a:lnTo>
                <a:lnTo>
                  <a:pt x="7864797" y="0"/>
                </a:lnTo>
                <a:close/>
              </a:path>
            </a:pathLst>
          </a:custGeom>
          <a:solidFill>
            <a:srgbClr val="EDF0F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A12D2F12-0E81-C433-9261-001D6FB5F31F}"/>
              </a:ext>
            </a:extLst>
          </p:cNvPr>
          <p:cNvSpPr txBox="1"/>
          <p:nvPr/>
        </p:nvSpPr>
        <p:spPr>
          <a:xfrm>
            <a:off x="13143978" y="2523710"/>
            <a:ext cx="496440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2400" b="1" dirty="0">
                <a:solidFill>
                  <a:srgbClr val="2F4048"/>
                </a:solidFill>
                <a:latin typeface="Arial"/>
                <a:cs typeface="Arial"/>
              </a:rPr>
              <a:t>Bénéfices observés</a:t>
            </a:r>
            <a:endParaRPr lang="en-US" sz="2400" dirty="0"/>
          </a:p>
        </p:txBody>
      </p:sp>
      <p:sp>
        <p:nvSpPr>
          <p:cNvPr id="14" name="Rectangle 2">
            <a:extLst>
              <a:ext uri="{FF2B5EF4-FFF2-40B4-BE49-F238E27FC236}">
                <a16:creationId xmlns:a16="http://schemas.microsoft.com/office/drawing/2014/main" id="{CAECBEA8-B2C6-54CA-D0F4-053BED1813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143979" y="3207813"/>
            <a:ext cx="5427106" cy="32669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 algn="l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Font typeface="Wingdings" panose="05000000000000000000" pitchFamily="2" charset="2"/>
              <a:buChar char="§"/>
            </a:pPr>
            <a:r>
              <a:rPr lang="fr-FR" altLang="fr-FR" sz="2000" b="1" dirty="0">
                <a:solidFill>
                  <a:srgbClr val="2F4048"/>
                </a:solidFill>
                <a:latin typeface="Arial" panose="020B0604020202020204" pitchFamily="34" charset="0"/>
              </a:rPr>
              <a:t>Baisse du taux d’absence maladie</a:t>
            </a:r>
          </a:p>
          <a:p>
            <a:pPr marL="285750" indent="-285750" algn="l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Font typeface="Wingdings" panose="05000000000000000000" pitchFamily="2" charset="2"/>
              <a:buChar char="§"/>
            </a:pPr>
            <a:r>
              <a:rPr lang="fr-FR" altLang="fr-FR" sz="2000" b="1" dirty="0">
                <a:solidFill>
                  <a:srgbClr val="2F4048"/>
                </a:solidFill>
                <a:latin typeface="Arial" panose="020B0604020202020204" pitchFamily="34" charset="0"/>
              </a:rPr>
              <a:t>Résultats positifs </a:t>
            </a:r>
            <a:r>
              <a:rPr lang="fr-FR" altLang="fr-FR" sz="2000" dirty="0">
                <a:solidFill>
                  <a:srgbClr val="2F4048"/>
                </a:solidFill>
                <a:latin typeface="Arial" panose="020B0604020202020204" pitchFamily="34" charset="0"/>
              </a:rPr>
              <a:t>à l’enquête d’engagement sur plusieurs thématiques en lien avec FWS</a:t>
            </a:r>
          </a:p>
          <a:p>
            <a:pPr marL="285750" indent="-285750" algn="l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Font typeface="Wingdings" panose="05000000000000000000" pitchFamily="2" charset="2"/>
              <a:buChar char="§"/>
            </a:pPr>
            <a:r>
              <a:rPr lang="fr-FR" altLang="fr-FR" sz="2000" b="1" dirty="0">
                <a:solidFill>
                  <a:srgbClr val="2F4048"/>
                </a:solidFill>
                <a:latin typeface="Arial" panose="020B0604020202020204" pitchFamily="34" charset="0"/>
              </a:rPr>
              <a:t>Renforcement du climat de confiance et de la cohésion</a:t>
            </a:r>
          </a:p>
          <a:p>
            <a:pPr marL="285750" indent="-285750" algn="l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Font typeface="Wingdings" panose="05000000000000000000" pitchFamily="2" charset="2"/>
              <a:buChar char="§"/>
            </a:pPr>
            <a:r>
              <a:rPr lang="fr-FR" altLang="fr-FR" sz="2000" b="1" dirty="0">
                <a:solidFill>
                  <a:srgbClr val="2F4048"/>
                </a:solidFill>
                <a:latin typeface="Arial" panose="020B0604020202020204" pitchFamily="34" charset="0"/>
              </a:rPr>
              <a:t>Valorisation de la marque employeur</a:t>
            </a:r>
          </a:p>
        </p:txBody>
      </p:sp>
      <p:pic>
        <p:nvPicPr>
          <p:cNvPr id="17" name="Graphique 16" descr="Graphique à barres avec tendance à la hausse avec un remplissage uni">
            <a:extLst>
              <a:ext uri="{FF2B5EF4-FFF2-40B4-BE49-F238E27FC236}">
                <a16:creationId xmlns:a16="http://schemas.microsoft.com/office/drawing/2014/main" id="{79FC6BBC-C13A-2179-0281-CA3E931E9A1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5049137" y="8068603"/>
            <a:ext cx="1616790" cy="1616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68488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33B185-EA4A-138A-CEA2-ED201511FF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4C09DBC-BD1B-892C-EB60-CA2032710D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95" imgH="396" progId="TCLayout.ActiveDocument.1">
                  <p:embed/>
                </p:oleObj>
              </mc:Choice>
              <mc:Fallback>
                <p:oleObj name="Diapositive think-cell" r:id="rId4" imgW="395" imgH="39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C09DBC-BD1B-892C-EB60-CA2032710D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8" name="object 2">
            <a:extLst>
              <a:ext uri="{FF2B5EF4-FFF2-40B4-BE49-F238E27FC236}">
                <a16:creationId xmlns:a16="http://schemas.microsoft.com/office/drawing/2014/main" id="{D36BAE60-D6AF-67A8-0043-1D890BC42B79}"/>
              </a:ext>
            </a:extLst>
          </p:cNvPr>
          <p:cNvSpPr/>
          <p:nvPr/>
        </p:nvSpPr>
        <p:spPr>
          <a:xfrm>
            <a:off x="0" y="0"/>
            <a:ext cx="20104100" cy="11308715"/>
          </a:xfrm>
          <a:custGeom>
            <a:avLst/>
            <a:gdLst/>
            <a:ahLst/>
            <a:cxnLst/>
            <a:rect l="l" t="t" r="r" b="b"/>
            <a:pathLst>
              <a:path w="20104100" h="11308715">
                <a:moveTo>
                  <a:pt x="20104099" y="0"/>
                </a:moveTo>
                <a:lnTo>
                  <a:pt x="0" y="0"/>
                </a:lnTo>
                <a:lnTo>
                  <a:pt x="0" y="11308556"/>
                </a:lnTo>
                <a:lnTo>
                  <a:pt x="20104099" y="11308556"/>
                </a:lnTo>
                <a:lnTo>
                  <a:pt x="20104099" y="0"/>
                </a:lnTo>
                <a:close/>
              </a:path>
            </a:pathLst>
          </a:custGeom>
          <a:solidFill>
            <a:srgbClr val="E1E6E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>
            <a:extLst>
              <a:ext uri="{FF2B5EF4-FFF2-40B4-BE49-F238E27FC236}">
                <a16:creationId xmlns:a16="http://schemas.microsoft.com/office/drawing/2014/main" id="{F31C5F70-9CCA-71C1-7B9D-A4C6792EB80A}"/>
              </a:ext>
            </a:extLst>
          </p:cNvPr>
          <p:cNvSpPr/>
          <p:nvPr/>
        </p:nvSpPr>
        <p:spPr>
          <a:xfrm>
            <a:off x="10052050" y="418835"/>
            <a:ext cx="9633585" cy="10471150"/>
          </a:xfrm>
          <a:custGeom>
            <a:avLst/>
            <a:gdLst/>
            <a:ahLst/>
            <a:cxnLst/>
            <a:rect l="l" t="t" r="r" b="b"/>
            <a:pathLst>
              <a:path w="9633585" h="10471150">
                <a:moveTo>
                  <a:pt x="9633214" y="0"/>
                </a:moveTo>
                <a:lnTo>
                  <a:pt x="5558637" y="0"/>
                </a:lnTo>
                <a:lnTo>
                  <a:pt x="4816607" y="1675341"/>
                </a:lnTo>
                <a:lnTo>
                  <a:pt x="4074577" y="0"/>
                </a:lnTo>
                <a:lnTo>
                  <a:pt x="0" y="0"/>
                </a:lnTo>
                <a:lnTo>
                  <a:pt x="0" y="10470885"/>
                </a:lnTo>
                <a:lnTo>
                  <a:pt x="9633214" y="10470885"/>
                </a:lnTo>
                <a:lnTo>
                  <a:pt x="9633214" y="0"/>
                </a:lnTo>
                <a:close/>
              </a:path>
            </a:pathLst>
          </a:custGeom>
          <a:solidFill>
            <a:srgbClr val="FF66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>
            <a:extLst>
              <a:ext uri="{FF2B5EF4-FFF2-40B4-BE49-F238E27FC236}">
                <a16:creationId xmlns:a16="http://schemas.microsoft.com/office/drawing/2014/main" id="{5CA5E00C-C931-5491-770C-C42D5EBEDBE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0482272" y="4072429"/>
            <a:ext cx="9036447" cy="2782172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>
              <a:buNone/>
            </a:pPr>
            <a:r>
              <a:rPr lang="fr-FR" sz="6000" i="1" dirty="0">
                <a:solidFill>
                  <a:schemeClr val="bg1"/>
                </a:solidFill>
              </a:rPr>
              <a:t>Se challenger pour un environnement sain et durable</a:t>
            </a:r>
            <a:endParaRPr lang="fr-FR" sz="6000" dirty="0">
              <a:solidFill>
                <a:schemeClr val="bg1"/>
              </a:solidFill>
            </a:endParaRPr>
          </a:p>
        </p:txBody>
      </p:sp>
      <p:grpSp>
        <p:nvGrpSpPr>
          <p:cNvPr id="322" name="object 322">
            <a:extLst>
              <a:ext uri="{FF2B5EF4-FFF2-40B4-BE49-F238E27FC236}">
                <a16:creationId xmlns:a16="http://schemas.microsoft.com/office/drawing/2014/main" id="{4662986C-8D17-CCCF-AFB5-63F66A834D47}"/>
              </a:ext>
            </a:extLst>
          </p:cNvPr>
          <p:cNvGrpSpPr/>
          <p:nvPr/>
        </p:nvGrpSpPr>
        <p:grpSpPr>
          <a:xfrm>
            <a:off x="13371676" y="9706510"/>
            <a:ext cx="2994025" cy="1602105"/>
            <a:chOff x="13371676" y="9706510"/>
            <a:chExt cx="2994025" cy="1602105"/>
          </a:xfrm>
        </p:grpSpPr>
        <p:sp>
          <p:nvSpPr>
            <p:cNvPr id="323" name="object 323">
              <a:extLst>
                <a:ext uri="{FF2B5EF4-FFF2-40B4-BE49-F238E27FC236}">
                  <a16:creationId xmlns:a16="http://schemas.microsoft.com/office/drawing/2014/main" id="{E774CDCA-6337-D980-EED0-DC087A58C2C1}"/>
                </a:ext>
              </a:extLst>
            </p:cNvPr>
            <p:cNvSpPr/>
            <p:nvPr/>
          </p:nvSpPr>
          <p:spPr>
            <a:xfrm>
              <a:off x="13371676" y="9706510"/>
              <a:ext cx="2994025" cy="1602105"/>
            </a:xfrm>
            <a:custGeom>
              <a:avLst/>
              <a:gdLst/>
              <a:ahLst/>
              <a:cxnLst/>
              <a:rect l="l" t="t" r="r" b="b"/>
              <a:pathLst>
                <a:path w="2994025" h="1602104">
                  <a:moveTo>
                    <a:pt x="2993950" y="0"/>
                  </a:moveTo>
                  <a:lnTo>
                    <a:pt x="0" y="0"/>
                  </a:lnTo>
                  <a:lnTo>
                    <a:pt x="0" y="1602045"/>
                  </a:lnTo>
                  <a:lnTo>
                    <a:pt x="2993950" y="1602045"/>
                  </a:lnTo>
                  <a:lnTo>
                    <a:pt x="299395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4" name="object 324">
              <a:extLst>
                <a:ext uri="{FF2B5EF4-FFF2-40B4-BE49-F238E27FC236}">
                  <a16:creationId xmlns:a16="http://schemas.microsoft.com/office/drawing/2014/main" id="{BCBD65AC-EDB1-2626-4717-EF4703395846}"/>
                </a:ext>
              </a:extLst>
            </p:cNvPr>
            <p:cNvSpPr/>
            <p:nvPr/>
          </p:nvSpPr>
          <p:spPr>
            <a:xfrm>
              <a:off x="13688010" y="10015505"/>
              <a:ext cx="2382520" cy="437515"/>
            </a:xfrm>
            <a:custGeom>
              <a:avLst/>
              <a:gdLst/>
              <a:ahLst/>
              <a:cxnLst/>
              <a:rect l="l" t="t" r="r" b="b"/>
              <a:pathLst>
                <a:path w="2382519" h="437515">
                  <a:moveTo>
                    <a:pt x="480225" y="8115"/>
                  </a:moveTo>
                  <a:lnTo>
                    <a:pt x="347014" y="8115"/>
                  </a:lnTo>
                  <a:lnTo>
                    <a:pt x="243332" y="245935"/>
                  </a:lnTo>
                  <a:lnTo>
                    <a:pt x="144246" y="8115"/>
                  </a:lnTo>
                  <a:lnTo>
                    <a:pt x="0" y="8115"/>
                  </a:lnTo>
                  <a:lnTo>
                    <a:pt x="0" y="429247"/>
                  </a:lnTo>
                  <a:lnTo>
                    <a:pt x="107772" y="429247"/>
                  </a:lnTo>
                  <a:lnTo>
                    <a:pt x="107772" y="186118"/>
                  </a:lnTo>
                  <a:lnTo>
                    <a:pt x="210299" y="429247"/>
                  </a:lnTo>
                  <a:lnTo>
                    <a:pt x="268211" y="429247"/>
                  </a:lnTo>
                  <a:lnTo>
                    <a:pt x="372491" y="186118"/>
                  </a:lnTo>
                  <a:lnTo>
                    <a:pt x="372491" y="429247"/>
                  </a:lnTo>
                  <a:lnTo>
                    <a:pt x="480225" y="429247"/>
                  </a:lnTo>
                  <a:lnTo>
                    <a:pt x="480225" y="8115"/>
                  </a:lnTo>
                  <a:close/>
                </a:path>
                <a:path w="2382519" h="437515">
                  <a:moveTo>
                    <a:pt x="671372" y="16497"/>
                  </a:moveTo>
                  <a:lnTo>
                    <a:pt x="667245" y="16497"/>
                  </a:lnTo>
                  <a:lnTo>
                    <a:pt x="667245" y="7607"/>
                  </a:lnTo>
                  <a:lnTo>
                    <a:pt x="563105" y="7607"/>
                  </a:lnTo>
                  <a:lnTo>
                    <a:pt x="563105" y="16497"/>
                  </a:lnTo>
                  <a:lnTo>
                    <a:pt x="563105" y="429247"/>
                  </a:lnTo>
                  <a:lnTo>
                    <a:pt x="671372" y="429247"/>
                  </a:lnTo>
                  <a:lnTo>
                    <a:pt x="671372" y="16497"/>
                  </a:lnTo>
                  <a:close/>
                </a:path>
                <a:path w="2382519" h="437515">
                  <a:moveTo>
                    <a:pt x="1124191" y="205955"/>
                  </a:moveTo>
                  <a:lnTo>
                    <a:pt x="1123061" y="198589"/>
                  </a:lnTo>
                  <a:lnTo>
                    <a:pt x="1119759" y="192481"/>
                  </a:lnTo>
                  <a:lnTo>
                    <a:pt x="1114425" y="188315"/>
                  </a:lnTo>
                  <a:lnTo>
                    <a:pt x="1107224" y="186778"/>
                  </a:lnTo>
                  <a:lnTo>
                    <a:pt x="970343" y="186778"/>
                  </a:lnTo>
                  <a:lnTo>
                    <a:pt x="970343" y="272821"/>
                  </a:lnTo>
                  <a:lnTo>
                    <a:pt x="1022489" y="272821"/>
                  </a:lnTo>
                  <a:lnTo>
                    <a:pt x="1022489" y="347040"/>
                  </a:lnTo>
                  <a:lnTo>
                    <a:pt x="1011097" y="348411"/>
                  </a:lnTo>
                  <a:lnTo>
                    <a:pt x="999045" y="349262"/>
                  </a:lnTo>
                  <a:lnTo>
                    <a:pt x="986955" y="349707"/>
                  </a:lnTo>
                  <a:lnTo>
                    <a:pt x="975512" y="349834"/>
                  </a:lnTo>
                  <a:lnTo>
                    <a:pt x="922997" y="340702"/>
                  </a:lnTo>
                  <a:lnTo>
                    <a:pt x="884707" y="314515"/>
                  </a:lnTo>
                  <a:lnTo>
                    <a:pt x="861288" y="273062"/>
                  </a:lnTo>
                  <a:lnTo>
                    <a:pt x="853351" y="218122"/>
                  </a:lnTo>
                  <a:lnTo>
                    <a:pt x="860374" y="165849"/>
                  </a:lnTo>
                  <a:lnTo>
                    <a:pt x="881799" y="125133"/>
                  </a:lnTo>
                  <a:lnTo>
                    <a:pt x="918095" y="98691"/>
                  </a:lnTo>
                  <a:lnTo>
                    <a:pt x="969746" y="89268"/>
                  </a:lnTo>
                  <a:lnTo>
                    <a:pt x="992809" y="90932"/>
                  </a:lnTo>
                  <a:lnTo>
                    <a:pt x="1018197" y="95580"/>
                  </a:lnTo>
                  <a:lnTo>
                    <a:pt x="1043825" y="102717"/>
                  </a:lnTo>
                  <a:lnTo>
                    <a:pt x="1067650" y="111836"/>
                  </a:lnTo>
                  <a:lnTo>
                    <a:pt x="1110081" y="39395"/>
                  </a:lnTo>
                  <a:lnTo>
                    <a:pt x="1080960" y="23469"/>
                  </a:lnTo>
                  <a:lnTo>
                    <a:pt x="1045819" y="11010"/>
                  </a:lnTo>
                  <a:lnTo>
                    <a:pt x="1005700" y="2908"/>
                  </a:lnTo>
                  <a:lnTo>
                    <a:pt x="961707" y="12"/>
                  </a:lnTo>
                  <a:lnTo>
                    <a:pt x="912596" y="4089"/>
                  </a:lnTo>
                  <a:lnTo>
                    <a:pt x="868972" y="15963"/>
                  </a:lnTo>
                  <a:lnTo>
                    <a:pt x="831176" y="35052"/>
                  </a:lnTo>
                  <a:lnTo>
                    <a:pt x="799541" y="60744"/>
                  </a:lnTo>
                  <a:lnTo>
                    <a:pt x="774357" y="92481"/>
                  </a:lnTo>
                  <a:lnTo>
                    <a:pt x="755980" y="129679"/>
                  </a:lnTo>
                  <a:lnTo>
                    <a:pt x="744702" y="171754"/>
                  </a:lnTo>
                  <a:lnTo>
                    <a:pt x="740879" y="218122"/>
                  </a:lnTo>
                  <a:lnTo>
                    <a:pt x="744740" y="269024"/>
                  </a:lnTo>
                  <a:lnTo>
                    <a:pt x="756272" y="313334"/>
                  </a:lnTo>
                  <a:lnTo>
                    <a:pt x="775360" y="350989"/>
                  </a:lnTo>
                  <a:lnTo>
                    <a:pt x="801916" y="381927"/>
                  </a:lnTo>
                  <a:lnTo>
                    <a:pt x="835825" y="406095"/>
                  </a:lnTo>
                  <a:lnTo>
                    <a:pt x="876998" y="423443"/>
                  </a:lnTo>
                  <a:lnTo>
                    <a:pt x="925334" y="433895"/>
                  </a:lnTo>
                  <a:lnTo>
                    <a:pt x="980732" y="437388"/>
                  </a:lnTo>
                  <a:lnTo>
                    <a:pt x="1016596" y="436435"/>
                  </a:lnTo>
                  <a:lnTo>
                    <a:pt x="1054785" y="433692"/>
                  </a:lnTo>
                  <a:lnTo>
                    <a:pt x="1091806" y="429336"/>
                  </a:lnTo>
                  <a:lnTo>
                    <a:pt x="1124191" y="423545"/>
                  </a:lnTo>
                  <a:lnTo>
                    <a:pt x="1124191" y="205955"/>
                  </a:lnTo>
                  <a:close/>
                </a:path>
                <a:path w="2382519" h="437515">
                  <a:moveTo>
                    <a:pt x="1557705" y="429247"/>
                  </a:moveTo>
                  <a:lnTo>
                    <a:pt x="1509572" y="307708"/>
                  </a:lnTo>
                  <a:lnTo>
                    <a:pt x="1497698" y="283197"/>
                  </a:lnTo>
                  <a:lnTo>
                    <a:pt x="1494104" y="278015"/>
                  </a:lnTo>
                  <a:lnTo>
                    <a:pt x="1482712" y="261569"/>
                  </a:lnTo>
                  <a:lnTo>
                    <a:pt x="1465656" y="244729"/>
                  </a:lnTo>
                  <a:lnTo>
                    <a:pt x="1447609" y="234581"/>
                  </a:lnTo>
                  <a:lnTo>
                    <a:pt x="1479816" y="220713"/>
                  </a:lnTo>
                  <a:lnTo>
                    <a:pt x="1503222" y="196164"/>
                  </a:lnTo>
                  <a:lnTo>
                    <a:pt x="1503807" y="194868"/>
                  </a:lnTo>
                  <a:lnTo>
                    <a:pt x="1517484" y="164642"/>
                  </a:lnTo>
                  <a:lnTo>
                    <a:pt x="1516265" y="89268"/>
                  </a:lnTo>
                  <a:lnTo>
                    <a:pt x="1492618" y="41694"/>
                  </a:lnTo>
                  <a:lnTo>
                    <a:pt x="1459674" y="20764"/>
                  </a:lnTo>
                  <a:lnTo>
                    <a:pt x="1420964" y="11353"/>
                  </a:lnTo>
                  <a:lnTo>
                    <a:pt x="1420964" y="137960"/>
                  </a:lnTo>
                  <a:lnTo>
                    <a:pt x="1416570" y="163741"/>
                  </a:lnTo>
                  <a:lnTo>
                    <a:pt x="1404556" y="181432"/>
                  </a:lnTo>
                  <a:lnTo>
                    <a:pt x="1386611" y="191604"/>
                  </a:lnTo>
                  <a:lnTo>
                    <a:pt x="1364424" y="194868"/>
                  </a:lnTo>
                  <a:lnTo>
                    <a:pt x="1311452" y="194868"/>
                  </a:lnTo>
                  <a:lnTo>
                    <a:pt x="1311452" y="89268"/>
                  </a:lnTo>
                  <a:lnTo>
                    <a:pt x="1364424" y="89268"/>
                  </a:lnTo>
                  <a:lnTo>
                    <a:pt x="1386611" y="91173"/>
                  </a:lnTo>
                  <a:lnTo>
                    <a:pt x="1404556" y="98399"/>
                  </a:lnTo>
                  <a:lnTo>
                    <a:pt x="1416570" y="113233"/>
                  </a:lnTo>
                  <a:lnTo>
                    <a:pt x="1420964" y="137960"/>
                  </a:lnTo>
                  <a:lnTo>
                    <a:pt x="1420964" y="11353"/>
                  </a:lnTo>
                  <a:lnTo>
                    <a:pt x="1418386" y="10718"/>
                  </a:lnTo>
                  <a:lnTo>
                    <a:pt x="1371523" y="8140"/>
                  </a:lnTo>
                  <a:lnTo>
                    <a:pt x="1215212" y="8140"/>
                  </a:lnTo>
                  <a:lnTo>
                    <a:pt x="1205611" y="16230"/>
                  </a:lnTo>
                  <a:lnTo>
                    <a:pt x="1205611" y="429247"/>
                  </a:lnTo>
                  <a:lnTo>
                    <a:pt x="1311452" y="429247"/>
                  </a:lnTo>
                  <a:lnTo>
                    <a:pt x="1311452" y="278015"/>
                  </a:lnTo>
                  <a:lnTo>
                    <a:pt x="1355255" y="278015"/>
                  </a:lnTo>
                  <a:lnTo>
                    <a:pt x="1394244" y="313321"/>
                  </a:lnTo>
                  <a:lnTo>
                    <a:pt x="1444180" y="429247"/>
                  </a:lnTo>
                  <a:lnTo>
                    <a:pt x="1557705" y="429247"/>
                  </a:lnTo>
                  <a:close/>
                </a:path>
                <a:path w="2382519" h="437515">
                  <a:moveTo>
                    <a:pt x="1993874" y="218122"/>
                  </a:moveTo>
                  <a:lnTo>
                    <a:pt x="1989455" y="168021"/>
                  </a:lnTo>
                  <a:lnTo>
                    <a:pt x="1976386" y="122072"/>
                  </a:lnTo>
                  <a:lnTo>
                    <a:pt x="1954961" y="81572"/>
                  </a:lnTo>
                  <a:lnTo>
                    <a:pt x="1925485" y="47828"/>
                  </a:lnTo>
                  <a:lnTo>
                    <a:pt x="1888248" y="22123"/>
                  </a:lnTo>
                  <a:lnTo>
                    <a:pt x="1880285" y="19215"/>
                  </a:lnTo>
                  <a:lnTo>
                    <a:pt x="1880285" y="218122"/>
                  </a:lnTo>
                  <a:lnTo>
                    <a:pt x="1873288" y="276237"/>
                  </a:lnTo>
                  <a:lnTo>
                    <a:pt x="1854250" y="316725"/>
                  </a:lnTo>
                  <a:lnTo>
                    <a:pt x="1826082" y="340423"/>
                  </a:lnTo>
                  <a:lnTo>
                    <a:pt x="1791677" y="348145"/>
                  </a:lnTo>
                  <a:lnTo>
                    <a:pt x="1752536" y="340423"/>
                  </a:lnTo>
                  <a:lnTo>
                    <a:pt x="1721777" y="316725"/>
                  </a:lnTo>
                  <a:lnTo>
                    <a:pt x="1701660" y="276237"/>
                  </a:lnTo>
                  <a:lnTo>
                    <a:pt x="1694446" y="218122"/>
                  </a:lnTo>
                  <a:lnTo>
                    <a:pt x="1701660" y="160756"/>
                  </a:lnTo>
                  <a:lnTo>
                    <a:pt x="1721777" y="120599"/>
                  </a:lnTo>
                  <a:lnTo>
                    <a:pt x="1752536" y="96989"/>
                  </a:lnTo>
                  <a:lnTo>
                    <a:pt x="1791677" y="89268"/>
                  </a:lnTo>
                  <a:lnTo>
                    <a:pt x="1826082" y="96989"/>
                  </a:lnTo>
                  <a:lnTo>
                    <a:pt x="1854250" y="120599"/>
                  </a:lnTo>
                  <a:lnTo>
                    <a:pt x="1873288" y="160756"/>
                  </a:lnTo>
                  <a:lnTo>
                    <a:pt x="1880285" y="218122"/>
                  </a:lnTo>
                  <a:lnTo>
                    <a:pt x="1880285" y="19215"/>
                  </a:lnTo>
                  <a:lnTo>
                    <a:pt x="1843557" y="5740"/>
                  </a:lnTo>
                  <a:lnTo>
                    <a:pt x="1791677" y="0"/>
                  </a:lnTo>
                  <a:lnTo>
                    <a:pt x="1736585" y="5740"/>
                  </a:lnTo>
                  <a:lnTo>
                    <a:pt x="1689582" y="22123"/>
                  </a:lnTo>
                  <a:lnTo>
                    <a:pt x="1650809" y="47828"/>
                  </a:lnTo>
                  <a:lnTo>
                    <a:pt x="1620418" y="81572"/>
                  </a:lnTo>
                  <a:lnTo>
                    <a:pt x="1598523" y="122072"/>
                  </a:lnTo>
                  <a:lnTo>
                    <a:pt x="1585290" y="168021"/>
                  </a:lnTo>
                  <a:lnTo>
                    <a:pt x="1580845" y="218122"/>
                  </a:lnTo>
                  <a:lnTo>
                    <a:pt x="1584248" y="262547"/>
                  </a:lnTo>
                  <a:lnTo>
                    <a:pt x="1594396" y="303809"/>
                  </a:lnTo>
                  <a:lnTo>
                    <a:pt x="1611198" y="341071"/>
                  </a:lnTo>
                  <a:lnTo>
                    <a:pt x="1634553" y="373468"/>
                  </a:lnTo>
                  <a:lnTo>
                    <a:pt x="1664373" y="400151"/>
                  </a:lnTo>
                  <a:lnTo>
                    <a:pt x="1700568" y="420268"/>
                  </a:lnTo>
                  <a:lnTo>
                    <a:pt x="1743036" y="432968"/>
                  </a:lnTo>
                  <a:lnTo>
                    <a:pt x="1791677" y="437388"/>
                  </a:lnTo>
                  <a:lnTo>
                    <a:pt x="1843557" y="431634"/>
                  </a:lnTo>
                  <a:lnTo>
                    <a:pt x="1888248" y="415239"/>
                  </a:lnTo>
                  <a:lnTo>
                    <a:pt x="1925485" y="389470"/>
                  </a:lnTo>
                  <a:lnTo>
                    <a:pt x="1954961" y="355600"/>
                  </a:lnTo>
                  <a:lnTo>
                    <a:pt x="1976386" y="314896"/>
                  </a:lnTo>
                  <a:lnTo>
                    <a:pt x="1989455" y="268655"/>
                  </a:lnTo>
                  <a:lnTo>
                    <a:pt x="1993874" y="218122"/>
                  </a:lnTo>
                  <a:close/>
                </a:path>
                <a:path w="2382519" h="437515">
                  <a:moveTo>
                    <a:pt x="2381910" y="290817"/>
                  </a:moveTo>
                  <a:lnTo>
                    <a:pt x="2372245" y="247383"/>
                  </a:lnTo>
                  <a:lnTo>
                    <a:pt x="2346833" y="216255"/>
                  </a:lnTo>
                  <a:lnTo>
                    <a:pt x="2311019" y="194386"/>
                  </a:lnTo>
                  <a:lnTo>
                    <a:pt x="2270150" y="178739"/>
                  </a:lnTo>
                  <a:lnTo>
                    <a:pt x="2229586" y="166255"/>
                  </a:lnTo>
                  <a:lnTo>
                    <a:pt x="2203996" y="157835"/>
                  </a:lnTo>
                  <a:lnTo>
                    <a:pt x="2183219" y="148374"/>
                  </a:lnTo>
                  <a:lnTo>
                    <a:pt x="2169274" y="136855"/>
                  </a:lnTo>
                  <a:lnTo>
                    <a:pt x="2164181" y="122313"/>
                  </a:lnTo>
                  <a:lnTo>
                    <a:pt x="2168334" y="107188"/>
                  </a:lnTo>
                  <a:lnTo>
                    <a:pt x="2180450" y="95440"/>
                  </a:lnTo>
                  <a:lnTo>
                    <a:pt x="2200059" y="87820"/>
                  </a:lnTo>
                  <a:lnTo>
                    <a:pt x="2226665" y="85115"/>
                  </a:lnTo>
                  <a:lnTo>
                    <a:pt x="2250884" y="87490"/>
                  </a:lnTo>
                  <a:lnTo>
                    <a:pt x="2274036" y="93992"/>
                  </a:lnTo>
                  <a:lnTo>
                    <a:pt x="2296401" y="103746"/>
                  </a:lnTo>
                  <a:lnTo>
                    <a:pt x="2318270" y="115811"/>
                  </a:lnTo>
                  <a:lnTo>
                    <a:pt x="2376716" y="49263"/>
                  </a:lnTo>
                  <a:lnTo>
                    <a:pt x="2352154" y="30822"/>
                  </a:lnTo>
                  <a:lnTo>
                    <a:pt x="2318994" y="15087"/>
                  </a:lnTo>
                  <a:lnTo>
                    <a:pt x="2278202" y="4127"/>
                  </a:lnTo>
                  <a:lnTo>
                    <a:pt x="2230767" y="12"/>
                  </a:lnTo>
                  <a:lnTo>
                    <a:pt x="2182050" y="4064"/>
                  </a:lnTo>
                  <a:lnTo>
                    <a:pt x="2138781" y="16040"/>
                  </a:lnTo>
                  <a:lnTo>
                    <a:pt x="2102485" y="35648"/>
                  </a:lnTo>
                  <a:lnTo>
                    <a:pt x="2074684" y="62598"/>
                  </a:lnTo>
                  <a:lnTo>
                    <a:pt x="2056892" y="96596"/>
                  </a:lnTo>
                  <a:lnTo>
                    <a:pt x="2050618" y="137363"/>
                  </a:lnTo>
                  <a:lnTo>
                    <a:pt x="2062619" y="188683"/>
                  </a:lnTo>
                  <a:lnTo>
                    <a:pt x="2093595" y="223164"/>
                  </a:lnTo>
                  <a:lnTo>
                    <a:pt x="2135949" y="245605"/>
                  </a:lnTo>
                  <a:lnTo>
                    <a:pt x="2182139" y="260731"/>
                  </a:lnTo>
                  <a:lnTo>
                    <a:pt x="2217242" y="270852"/>
                  </a:lnTo>
                  <a:lnTo>
                    <a:pt x="2245372" y="281203"/>
                  </a:lnTo>
                  <a:lnTo>
                    <a:pt x="2264067" y="294182"/>
                  </a:lnTo>
                  <a:lnTo>
                    <a:pt x="2270849" y="312153"/>
                  </a:lnTo>
                  <a:lnTo>
                    <a:pt x="2265057" y="330428"/>
                  </a:lnTo>
                  <a:lnTo>
                    <a:pt x="2250287" y="341198"/>
                  </a:lnTo>
                  <a:lnTo>
                    <a:pt x="2230412" y="346303"/>
                  </a:lnTo>
                  <a:lnTo>
                    <a:pt x="2209330" y="347599"/>
                  </a:lnTo>
                  <a:lnTo>
                    <a:pt x="2172995" y="343446"/>
                  </a:lnTo>
                  <a:lnTo>
                    <a:pt x="2137892" y="333108"/>
                  </a:lnTo>
                  <a:lnTo>
                    <a:pt x="2106790" y="319735"/>
                  </a:lnTo>
                  <a:lnTo>
                    <a:pt x="2082419" y="306476"/>
                  </a:lnTo>
                  <a:lnTo>
                    <a:pt x="2034425" y="391604"/>
                  </a:lnTo>
                  <a:lnTo>
                    <a:pt x="2062911" y="407314"/>
                  </a:lnTo>
                  <a:lnTo>
                    <a:pt x="2102192" y="422097"/>
                  </a:lnTo>
                  <a:lnTo>
                    <a:pt x="2149284" y="433082"/>
                  </a:lnTo>
                  <a:lnTo>
                    <a:pt x="2201227" y="437388"/>
                  </a:lnTo>
                  <a:lnTo>
                    <a:pt x="2253234" y="432562"/>
                  </a:lnTo>
                  <a:lnTo>
                    <a:pt x="2297506" y="418693"/>
                  </a:lnTo>
                  <a:lnTo>
                    <a:pt x="2333282" y="396684"/>
                  </a:lnTo>
                  <a:lnTo>
                    <a:pt x="2359787" y="367436"/>
                  </a:lnTo>
                  <a:lnTo>
                    <a:pt x="2376246" y="331851"/>
                  </a:lnTo>
                  <a:lnTo>
                    <a:pt x="2381910" y="290817"/>
                  </a:lnTo>
                  <a:close/>
                </a:path>
              </a:pathLst>
            </a:custGeom>
            <a:solidFill>
              <a:srgbClr val="FF66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5" name="object 325">
              <a:extLst>
                <a:ext uri="{FF2B5EF4-FFF2-40B4-BE49-F238E27FC236}">
                  <a16:creationId xmlns:a16="http://schemas.microsoft.com/office/drawing/2014/main" id="{7288E0A0-9F8F-ED9C-3288-08622A7D911D}"/>
                </a:ext>
              </a:extLst>
            </p:cNvPr>
            <p:cNvSpPr/>
            <p:nvPr/>
          </p:nvSpPr>
          <p:spPr>
            <a:xfrm>
              <a:off x="13669722" y="10474077"/>
              <a:ext cx="2173605" cy="514984"/>
            </a:xfrm>
            <a:custGeom>
              <a:avLst/>
              <a:gdLst/>
              <a:ahLst/>
              <a:cxnLst/>
              <a:rect l="l" t="t" r="r" b="b"/>
              <a:pathLst>
                <a:path w="2173605" h="514984">
                  <a:moveTo>
                    <a:pt x="368325" y="266484"/>
                  </a:moveTo>
                  <a:lnTo>
                    <a:pt x="204343" y="266484"/>
                  </a:lnTo>
                  <a:lnTo>
                    <a:pt x="204343" y="351447"/>
                  </a:lnTo>
                  <a:lnTo>
                    <a:pt x="266471" y="351447"/>
                  </a:lnTo>
                  <a:lnTo>
                    <a:pt x="266471" y="423786"/>
                  </a:lnTo>
                  <a:lnTo>
                    <a:pt x="259943" y="425183"/>
                  </a:lnTo>
                  <a:lnTo>
                    <a:pt x="251421" y="426351"/>
                  </a:lnTo>
                  <a:lnTo>
                    <a:pt x="241084" y="427139"/>
                  </a:lnTo>
                  <a:lnTo>
                    <a:pt x="229082" y="427418"/>
                  </a:lnTo>
                  <a:lnTo>
                    <a:pt x="179235" y="418769"/>
                  </a:lnTo>
                  <a:lnTo>
                    <a:pt x="141554" y="393979"/>
                  </a:lnTo>
                  <a:lnTo>
                    <a:pt x="117716" y="354787"/>
                  </a:lnTo>
                  <a:lnTo>
                    <a:pt x="109397" y="302958"/>
                  </a:lnTo>
                  <a:lnTo>
                    <a:pt x="118008" y="251294"/>
                  </a:lnTo>
                  <a:lnTo>
                    <a:pt x="142875" y="212661"/>
                  </a:lnTo>
                  <a:lnTo>
                    <a:pt x="182575" y="188442"/>
                  </a:lnTo>
                  <a:lnTo>
                    <a:pt x="235648" y="180060"/>
                  </a:lnTo>
                  <a:lnTo>
                    <a:pt x="266661" y="181495"/>
                  </a:lnTo>
                  <a:lnTo>
                    <a:pt x="291223" y="185242"/>
                  </a:lnTo>
                  <a:lnTo>
                    <a:pt x="310680" y="190525"/>
                  </a:lnTo>
                  <a:lnTo>
                    <a:pt x="326326" y="196545"/>
                  </a:lnTo>
                  <a:lnTo>
                    <a:pt x="333844" y="199796"/>
                  </a:lnTo>
                  <a:lnTo>
                    <a:pt x="356387" y="113411"/>
                  </a:lnTo>
                  <a:lnTo>
                    <a:pt x="306285" y="97307"/>
                  </a:lnTo>
                  <a:lnTo>
                    <a:pt x="236423" y="90944"/>
                  </a:lnTo>
                  <a:lnTo>
                    <a:pt x="185178" y="94856"/>
                  </a:lnTo>
                  <a:lnTo>
                    <a:pt x="139153" y="106286"/>
                  </a:lnTo>
                  <a:lnTo>
                    <a:pt x="98831" y="124790"/>
                  </a:lnTo>
                  <a:lnTo>
                    <a:pt x="64693" y="149910"/>
                  </a:lnTo>
                  <a:lnTo>
                    <a:pt x="37261" y="181203"/>
                  </a:lnTo>
                  <a:lnTo>
                    <a:pt x="17005" y="218211"/>
                  </a:lnTo>
                  <a:lnTo>
                    <a:pt x="4419" y="260489"/>
                  </a:lnTo>
                  <a:lnTo>
                    <a:pt x="0" y="307581"/>
                  </a:lnTo>
                  <a:lnTo>
                    <a:pt x="3733" y="352018"/>
                  </a:lnTo>
                  <a:lnTo>
                    <a:pt x="15036" y="392684"/>
                  </a:lnTo>
                  <a:lnTo>
                    <a:pt x="33578" y="428625"/>
                  </a:lnTo>
                  <a:lnTo>
                    <a:pt x="58953" y="458927"/>
                  </a:lnTo>
                  <a:lnTo>
                    <a:pt x="91351" y="483527"/>
                  </a:lnTo>
                  <a:lnTo>
                    <a:pt x="129984" y="500964"/>
                  </a:lnTo>
                  <a:lnTo>
                    <a:pt x="175158" y="511352"/>
                  </a:lnTo>
                  <a:lnTo>
                    <a:pt x="227164" y="514794"/>
                  </a:lnTo>
                  <a:lnTo>
                    <a:pt x="265722" y="512762"/>
                  </a:lnTo>
                  <a:lnTo>
                    <a:pt x="302666" y="507479"/>
                  </a:lnTo>
                  <a:lnTo>
                    <a:pt x="335965" y="500100"/>
                  </a:lnTo>
                  <a:lnTo>
                    <a:pt x="363575" y="491845"/>
                  </a:lnTo>
                  <a:lnTo>
                    <a:pt x="368325" y="490181"/>
                  </a:lnTo>
                  <a:lnTo>
                    <a:pt x="368325" y="266484"/>
                  </a:lnTo>
                  <a:close/>
                </a:path>
                <a:path w="2173605" h="514984">
                  <a:moveTo>
                    <a:pt x="704773" y="422122"/>
                  </a:moveTo>
                  <a:lnTo>
                    <a:pt x="539534" y="422122"/>
                  </a:lnTo>
                  <a:lnTo>
                    <a:pt x="539534" y="340842"/>
                  </a:lnTo>
                  <a:lnTo>
                    <a:pt x="687374" y="340842"/>
                  </a:lnTo>
                  <a:lnTo>
                    <a:pt x="687374" y="253212"/>
                  </a:lnTo>
                  <a:lnTo>
                    <a:pt x="539534" y="253212"/>
                  </a:lnTo>
                  <a:lnTo>
                    <a:pt x="539534" y="183362"/>
                  </a:lnTo>
                  <a:lnTo>
                    <a:pt x="696201" y="183362"/>
                  </a:lnTo>
                  <a:lnTo>
                    <a:pt x="696201" y="94462"/>
                  </a:lnTo>
                  <a:lnTo>
                    <a:pt x="434632" y="94462"/>
                  </a:lnTo>
                  <a:lnTo>
                    <a:pt x="434632" y="183362"/>
                  </a:lnTo>
                  <a:lnTo>
                    <a:pt x="434632" y="253212"/>
                  </a:lnTo>
                  <a:lnTo>
                    <a:pt x="434632" y="340842"/>
                  </a:lnTo>
                  <a:lnTo>
                    <a:pt x="434632" y="422122"/>
                  </a:lnTo>
                  <a:lnTo>
                    <a:pt x="434632" y="511022"/>
                  </a:lnTo>
                  <a:lnTo>
                    <a:pt x="704773" y="511022"/>
                  </a:lnTo>
                  <a:lnTo>
                    <a:pt x="704773" y="422122"/>
                  </a:lnTo>
                  <a:close/>
                </a:path>
                <a:path w="2173605" h="514984">
                  <a:moveTo>
                    <a:pt x="1108811" y="94970"/>
                  </a:moveTo>
                  <a:lnTo>
                    <a:pt x="1011326" y="94970"/>
                  </a:lnTo>
                  <a:lnTo>
                    <a:pt x="1011326" y="219138"/>
                  </a:lnTo>
                  <a:lnTo>
                    <a:pt x="1011555" y="254876"/>
                  </a:lnTo>
                  <a:lnTo>
                    <a:pt x="1012253" y="287870"/>
                  </a:lnTo>
                  <a:lnTo>
                    <a:pt x="1013447" y="318566"/>
                  </a:lnTo>
                  <a:lnTo>
                    <a:pt x="1015161" y="347408"/>
                  </a:lnTo>
                  <a:lnTo>
                    <a:pt x="1002944" y="320408"/>
                  </a:lnTo>
                  <a:lnTo>
                    <a:pt x="990295" y="294157"/>
                  </a:lnTo>
                  <a:lnTo>
                    <a:pt x="977455" y="269151"/>
                  </a:lnTo>
                  <a:lnTo>
                    <a:pt x="964666" y="245884"/>
                  </a:lnTo>
                  <a:lnTo>
                    <a:pt x="879233" y="94970"/>
                  </a:lnTo>
                  <a:lnTo>
                    <a:pt x="762279" y="94970"/>
                  </a:lnTo>
                  <a:lnTo>
                    <a:pt x="762279" y="510743"/>
                  </a:lnTo>
                  <a:lnTo>
                    <a:pt x="859739" y="510743"/>
                  </a:lnTo>
                  <a:lnTo>
                    <a:pt x="859739" y="382955"/>
                  </a:lnTo>
                  <a:lnTo>
                    <a:pt x="859586" y="343560"/>
                  </a:lnTo>
                  <a:lnTo>
                    <a:pt x="858380" y="272440"/>
                  </a:lnTo>
                  <a:lnTo>
                    <a:pt x="857313" y="239953"/>
                  </a:lnTo>
                  <a:lnTo>
                    <a:pt x="871969" y="271094"/>
                  </a:lnTo>
                  <a:lnTo>
                    <a:pt x="886866" y="300901"/>
                  </a:lnTo>
                  <a:lnTo>
                    <a:pt x="901255" y="328345"/>
                  </a:lnTo>
                  <a:lnTo>
                    <a:pt x="914361" y="352437"/>
                  </a:lnTo>
                  <a:lnTo>
                    <a:pt x="1002474" y="510743"/>
                  </a:lnTo>
                  <a:lnTo>
                    <a:pt x="1108811" y="510743"/>
                  </a:lnTo>
                  <a:lnTo>
                    <a:pt x="1108811" y="94970"/>
                  </a:lnTo>
                  <a:close/>
                </a:path>
                <a:path w="2173605" h="514984">
                  <a:moveTo>
                    <a:pt x="1375359" y="86563"/>
                  </a:moveTo>
                  <a:lnTo>
                    <a:pt x="1315339" y="0"/>
                  </a:lnTo>
                  <a:lnTo>
                    <a:pt x="1199172" y="0"/>
                  </a:lnTo>
                  <a:lnTo>
                    <a:pt x="1286319" y="86563"/>
                  </a:lnTo>
                  <a:lnTo>
                    <a:pt x="1375359" y="86563"/>
                  </a:lnTo>
                  <a:close/>
                </a:path>
                <a:path w="2173605" h="514984">
                  <a:moveTo>
                    <a:pt x="1452994" y="422122"/>
                  </a:moveTo>
                  <a:lnTo>
                    <a:pt x="1287754" y="422122"/>
                  </a:lnTo>
                  <a:lnTo>
                    <a:pt x="1287754" y="340842"/>
                  </a:lnTo>
                  <a:lnTo>
                    <a:pt x="1435595" y="340842"/>
                  </a:lnTo>
                  <a:lnTo>
                    <a:pt x="1435595" y="253212"/>
                  </a:lnTo>
                  <a:lnTo>
                    <a:pt x="1287754" y="253212"/>
                  </a:lnTo>
                  <a:lnTo>
                    <a:pt x="1287754" y="183362"/>
                  </a:lnTo>
                  <a:lnTo>
                    <a:pt x="1444409" y="183362"/>
                  </a:lnTo>
                  <a:lnTo>
                    <a:pt x="1444409" y="94462"/>
                  </a:lnTo>
                  <a:lnTo>
                    <a:pt x="1182839" y="94462"/>
                  </a:lnTo>
                  <a:lnTo>
                    <a:pt x="1182839" y="183362"/>
                  </a:lnTo>
                  <a:lnTo>
                    <a:pt x="1182839" y="253212"/>
                  </a:lnTo>
                  <a:lnTo>
                    <a:pt x="1182839" y="340842"/>
                  </a:lnTo>
                  <a:lnTo>
                    <a:pt x="1182839" y="422122"/>
                  </a:lnTo>
                  <a:lnTo>
                    <a:pt x="1182839" y="511022"/>
                  </a:lnTo>
                  <a:lnTo>
                    <a:pt x="1452994" y="511022"/>
                  </a:lnTo>
                  <a:lnTo>
                    <a:pt x="1452994" y="422122"/>
                  </a:lnTo>
                  <a:close/>
                </a:path>
                <a:path w="2173605" h="514984">
                  <a:moveTo>
                    <a:pt x="1867420" y="94970"/>
                  </a:moveTo>
                  <a:lnTo>
                    <a:pt x="1755724" y="94970"/>
                  </a:lnTo>
                  <a:lnTo>
                    <a:pt x="1703260" y="271513"/>
                  </a:lnTo>
                  <a:lnTo>
                    <a:pt x="1694281" y="302361"/>
                  </a:lnTo>
                  <a:lnTo>
                    <a:pt x="1686255" y="331368"/>
                  </a:lnTo>
                  <a:lnTo>
                    <a:pt x="1679092" y="358825"/>
                  </a:lnTo>
                  <a:lnTo>
                    <a:pt x="1672729" y="385025"/>
                  </a:lnTo>
                  <a:lnTo>
                    <a:pt x="1666544" y="358597"/>
                  </a:lnTo>
                  <a:lnTo>
                    <a:pt x="1659559" y="331089"/>
                  </a:lnTo>
                  <a:lnTo>
                    <a:pt x="1651584" y="301828"/>
                  </a:lnTo>
                  <a:lnTo>
                    <a:pt x="1592402" y="94970"/>
                  </a:lnTo>
                  <a:lnTo>
                    <a:pt x="1477924" y="94970"/>
                  </a:lnTo>
                  <a:lnTo>
                    <a:pt x="1611312" y="510743"/>
                  </a:lnTo>
                  <a:lnTo>
                    <a:pt x="1727619" y="510743"/>
                  </a:lnTo>
                  <a:lnTo>
                    <a:pt x="1867420" y="94970"/>
                  </a:lnTo>
                  <a:close/>
                </a:path>
                <a:path w="2173605" h="514984">
                  <a:moveTo>
                    <a:pt x="2173186" y="422249"/>
                  </a:moveTo>
                  <a:lnTo>
                    <a:pt x="2007946" y="422249"/>
                  </a:lnTo>
                  <a:lnTo>
                    <a:pt x="2007946" y="340969"/>
                  </a:lnTo>
                  <a:lnTo>
                    <a:pt x="2155787" y="340969"/>
                  </a:lnTo>
                  <a:lnTo>
                    <a:pt x="2155787" y="253339"/>
                  </a:lnTo>
                  <a:lnTo>
                    <a:pt x="2007946" y="253339"/>
                  </a:lnTo>
                  <a:lnTo>
                    <a:pt x="2007946" y="183489"/>
                  </a:lnTo>
                  <a:lnTo>
                    <a:pt x="2164613" y="183489"/>
                  </a:lnTo>
                  <a:lnTo>
                    <a:pt x="2164613" y="94589"/>
                  </a:lnTo>
                  <a:lnTo>
                    <a:pt x="1903044" y="94589"/>
                  </a:lnTo>
                  <a:lnTo>
                    <a:pt x="1903044" y="183489"/>
                  </a:lnTo>
                  <a:lnTo>
                    <a:pt x="1903044" y="253339"/>
                  </a:lnTo>
                  <a:lnTo>
                    <a:pt x="1903044" y="340969"/>
                  </a:lnTo>
                  <a:lnTo>
                    <a:pt x="1903044" y="422249"/>
                  </a:lnTo>
                  <a:lnTo>
                    <a:pt x="1903044" y="511149"/>
                  </a:lnTo>
                  <a:lnTo>
                    <a:pt x="2173186" y="511149"/>
                  </a:lnTo>
                  <a:lnTo>
                    <a:pt x="2173186" y="422249"/>
                  </a:lnTo>
                  <a:close/>
                </a:path>
              </a:pathLst>
            </a:custGeom>
            <a:solidFill>
              <a:srgbClr val="9C9B9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330" name="Grafik 329">
            <a:extLst>
              <a:ext uri="{FF2B5EF4-FFF2-40B4-BE49-F238E27FC236}">
                <a16:creationId xmlns:a16="http://schemas.microsoft.com/office/drawing/2014/main" id="{0DB4BCC9-8057-6430-0437-A9E868C5788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23" t="24800" r="24395" b="12368"/>
          <a:stretch/>
        </p:blipFill>
        <p:spPr>
          <a:xfrm>
            <a:off x="36000" y="1728000"/>
            <a:ext cx="12060634" cy="9411056"/>
          </a:xfrm>
          <a:prstGeom prst="rect">
            <a:avLst/>
          </a:prstGeom>
          <a:effectLst/>
        </p:spPr>
      </p:pic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4E6B1BEE-C536-6271-46A5-749B629467A2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38100">
              <a:lnSpc>
                <a:spcPts val="1650"/>
              </a:lnSpc>
            </a:pPr>
            <a:fld id="{81D60167-4931-47E6-BA6A-407CBD079E47}" type="slidenum">
              <a:rPr lang="fr-CH" spc="-25" smtClean="0"/>
              <a:t>7</a:t>
            </a:fld>
            <a:endParaRPr lang="fr-CH" spc="-25"/>
          </a:p>
        </p:txBody>
      </p:sp>
    </p:spTree>
    <p:extLst>
      <p:ext uri="{BB962C8B-B14F-4D97-AF65-F5344CB8AC3E}">
        <p14:creationId xmlns:p14="http://schemas.microsoft.com/office/powerpoint/2010/main" val="32037164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66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Zg5uvX7ieoamSHCoYN5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Gm2TRbqLy7g3PZWkMJH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Gm2TRbqLy7g3PZWkMJH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Gm2TRbqLy7g3PZWkMJH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Gm2TRbqLy7g3PZWkMJH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Gm2TRbqLy7g3PZWkMJH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Gm2TRbqLy7g3PZWkMJH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Zg5uvX7ieoamSHCoYN5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Gm2TRbqLy7g3PZWkMJH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Migros Vorlage Plenum">
  <a:themeElements>
    <a:clrScheme name="M-Farbwelt 2017">
      <a:dk1>
        <a:srgbClr val="000000"/>
      </a:dk1>
      <a:lt1>
        <a:srgbClr val="FFFFFF"/>
      </a:lt1>
      <a:dk2>
        <a:srgbClr val="BCA89E"/>
      </a:dk2>
      <a:lt2>
        <a:srgbClr val="EAEAEA"/>
      </a:lt2>
      <a:accent1>
        <a:srgbClr val="FF6600"/>
      </a:accent1>
      <a:accent2>
        <a:srgbClr val="FFC000"/>
      </a:accent2>
      <a:accent3>
        <a:srgbClr val="C00000"/>
      </a:accent3>
      <a:accent4>
        <a:srgbClr val="3BA71C"/>
      </a:accent4>
      <a:accent5>
        <a:srgbClr val="18498C"/>
      </a:accent5>
      <a:accent6>
        <a:srgbClr val="00AECF"/>
      </a:accent6>
      <a:hlink>
        <a:srgbClr val="0000CD"/>
      </a:hlink>
      <a:folHlink>
        <a:srgbClr val="0000CD"/>
      </a:folHlink>
    </a:clrScheme>
    <a:fontScheme name="_Praesentation_PPT_Vorlage_D_1_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2700">
          <a:solidFill>
            <a:schemeClr val="tx1"/>
          </a:solidFill>
          <a:miter lim="800000"/>
          <a:headEnd/>
          <a:tailEnd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180975" indent="-180975" algn="ctr">
          <a:buClr>
            <a:schemeClr val="accent1"/>
          </a:buClr>
          <a:buFont typeface="Arial" panose="020B0604020202020204" pitchFamily="34" charset="0"/>
          <a:buChar char="•"/>
          <a:defRPr dirty="0" err="1" smtClean="0"/>
        </a:defPPr>
      </a:lstStyle>
    </a:spDef>
    <a:lnDef>
      <a:spPr>
        <a:ln w="12700"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</a:spPr>
      <a:bodyPr wrap="square" lIns="36000" tIns="0" rIns="36000" bIns="0" rtlCol="0">
        <a:spAutoFit/>
      </a:bodyPr>
      <a:lstStyle>
        <a:defPPr marL="180975" indent="-180975">
          <a:spcAft>
            <a:spcPts val="0"/>
          </a:spcAft>
          <a:buClr>
            <a:schemeClr val="accent1"/>
          </a:buClr>
          <a:buFont typeface="Arial" panose="020B0604020202020204" pitchFamily="34" charset="0"/>
          <a:buChar char="•"/>
          <a:defRPr sz="1600" kern="0" dirty="0" err="1" smtClean="0">
            <a:solidFill>
              <a:srgbClr val="000000"/>
            </a:solidFill>
            <a:latin typeface="Arial"/>
          </a:defRPr>
        </a:defPPr>
      </a:lstStyle>
    </a:txDef>
  </a:objectDefaults>
  <a:extraClrSchemeLst>
    <a:extraClrScheme>
      <a:clrScheme name="_Praesentation_PPT_Vorlage_D_1_14 1">
        <a:dk1>
          <a:srgbClr val="000000"/>
        </a:dk1>
        <a:lt1>
          <a:srgbClr val="FFFFFF"/>
        </a:lt1>
        <a:dk2>
          <a:srgbClr val="FF6600"/>
        </a:dk2>
        <a:lt2>
          <a:srgbClr val="CFBFB8"/>
        </a:lt2>
        <a:accent1>
          <a:srgbClr val="FFE67F"/>
        </a:accent1>
        <a:accent2>
          <a:srgbClr val="FFB300"/>
        </a:accent2>
        <a:accent3>
          <a:srgbClr val="FFFFFF"/>
        </a:accent3>
        <a:accent4>
          <a:srgbClr val="000000"/>
        </a:accent4>
        <a:accent5>
          <a:srgbClr val="FFF0C0"/>
        </a:accent5>
        <a:accent6>
          <a:srgbClr val="E7A200"/>
        </a:accent6>
        <a:hlink>
          <a:srgbClr val="FF660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_Praesentation_PPT_Vorlage_D_1_14 2">
        <a:dk1>
          <a:srgbClr val="000000"/>
        </a:dk1>
        <a:lt1>
          <a:srgbClr val="FFFFFF"/>
        </a:lt1>
        <a:dk2>
          <a:srgbClr val="000000"/>
        </a:dk2>
        <a:lt2>
          <a:srgbClr val="919191"/>
        </a:lt2>
        <a:accent1>
          <a:srgbClr val="464646"/>
        </a:accent1>
        <a:accent2>
          <a:srgbClr val="D9D9D9"/>
        </a:accent2>
        <a:accent3>
          <a:srgbClr val="FFFFFF"/>
        </a:accent3>
        <a:accent4>
          <a:srgbClr val="000000"/>
        </a:accent4>
        <a:accent5>
          <a:srgbClr val="B0B0B0"/>
        </a:accent5>
        <a:accent6>
          <a:srgbClr val="C4C4C4"/>
        </a:accent6>
        <a:hlink>
          <a:srgbClr val="6E6E6E"/>
        </a:hlink>
        <a:folHlink>
          <a:srgbClr val="B5B5B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blank.potx" id="{FE9ED151-8071-4DA9-B6BA-F4086A8CEF8B}" vid="{E72DC255-445A-4FC0-A22B-71EE38E4F404}"/>
    </a:ext>
  </a:extLst>
</a:theme>
</file>

<file path=ppt/theme/theme3.xml><?xml version="1.0" encoding="utf-8"?>
<a:theme xmlns:a="http://schemas.openxmlformats.org/drawingml/2006/main" name="10_Migros Vorlage Plenum">
  <a:themeElements>
    <a:clrScheme name="M-Farbwelt 2017">
      <a:dk1>
        <a:srgbClr val="000000"/>
      </a:dk1>
      <a:lt1>
        <a:srgbClr val="FFFFFF"/>
      </a:lt1>
      <a:dk2>
        <a:srgbClr val="BCA89E"/>
      </a:dk2>
      <a:lt2>
        <a:srgbClr val="EAEAEA"/>
      </a:lt2>
      <a:accent1>
        <a:srgbClr val="FF6600"/>
      </a:accent1>
      <a:accent2>
        <a:srgbClr val="FFC000"/>
      </a:accent2>
      <a:accent3>
        <a:srgbClr val="C00000"/>
      </a:accent3>
      <a:accent4>
        <a:srgbClr val="3BA71C"/>
      </a:accent4>
      <a:accent5>
        <a:srgbClr val="18498C"/>
      </a:accent5>
      <a:accent6>
        <a:srgbClr val="00AECF"/>
      </a:accent6>
      <a:hlink>
        <a:srgbClr val="0000CD"/>
      </a:hlink>
      <a:folHlink>
        <a:srgbClr val="0000CD"/>
      </a:folHlink>
    </a:clrScheme>
    <a:fontScheme name="_Praesentation_PPT_Vorlage_D_1_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2700">
          <a:solidFill>
            <a:schemeClr val="tx1"/>
          </a:solidFill>
          <a:miter lim="800000"/>
          <a:headEnd/>
          <a:tailEnd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180975" indent="-180975" algn="ctr">
          <a:buClr>
            <a:schemeClr val="accent1"/>
          </a:buClr>
          <a:buFont typeface="Arial" panose="020B0604020202020204" pitchFamily="34" charset="0"/>
          <a:buChar char="•"/>
          <a:defRPr dirty="0" err="1" smtClean="0"/>
        </a:defPPr>
      </a:lstStyle>
    </a:spDef>
    <a:lnDef>
      <a:spPr>
        <a:ln w="12700"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</a:spPr>
      <a:bodyPr wrap="square" lIns="36000" tIns="0" rIns="36000" bIns="0" rtlCol="0">
        <a:spAutoFit/>
      </a:bodyPr>
      <a:lstStyle>
        <a:defPPr marL="180975" indent="-180975">
          <a:spcAft>
            <a:spcPts val="0"/>
          </a:spcAft>
          <a:buClr>
            <a:schemeClr val="accent1"/>
          </a:buClr>
          <a:buFont typeface="Arial" panose="020B0604020202020204" pitchFamily="34" charset="0"/>
          <a:buChar char="•"/>
          <a:defRPr sz="1600" kern="0" dirty="0" err="1" smtClean="0">
            <a:solidFill>
              <a:srgbClr val="000000"/>
            </a:solidFill>
            <a:latin typeface="Arial"/>
          </a:defRPr>
        </a:defPPr>
      </a:lstStyle>
    </a:txDef>
  </a:objectDefaults>
  <a:extraClrSchemeLst>
    <a:extraClrScheme>
      <a:clrScheme name="_Praesentation_PPT_Vorlage_D_1_14 1">
        <a:dk1>
          <a:srgbClr val="000000"/>
        </a:dk1>
        <a:lt1>
          <a:srgbClr val="FFFFFF"/>
        </a:lt1>
        <a:dk2>
          <a:srgbClr val="FF6600"/>
        </a:dk2>
        <a:lt2>
          <a:srgbClr val="CFBFB8"/>
        </a:lt2>
        <a:accent1>
          <a:srgbClr val="FFE67F"/>
        </a:accent1>
        <a:accent2>
          <a:srgbClr val="FFB300"/>
        </a:accent2>
        <a:accent3>
          <a:srgbClr val="FFFFFF"/>
        </a:accent3>
        <a:accent4>
          <a:srgbClr val="000000"/>
        </a:accent4>
        <a:accent5>
          <a:srgbClr val="FFF0C0"/>
        </a:accent5>
        <a:accent6>
          <a:srgbClr val="E7A200"/>
        </a:accent6>
        <a:hlink>
          <a:srgbClr val="FF660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_Praesentation_PPT_Vorlage_D_1_14 2">
        <a:dk1>
          <a:srgbClr val="000000"/>
        </a:dk1>
        <a:lt1>
          <a:srgbClr val="FFFFFF"/>
        </a:lt1>
        <a:dk2>
          <a:srgbClr val="000000"/>
        </a:dk2>
        <a:lt2>
          <a:srgbClr val="919191"/>
        </a:lt2>
        <a:accent1>
          <a:srgbClr val="464646"/>
        </a:accent1>
        <a:accent2>
          <a:srgbClr val="D9D9D9"/>
        </a:accent2>
        <a:accent3>
          <a:srgbClr val="FFFFFF"/>
        </a:accent3>
        <a:accent4>
          <a:srgbClr val="000000"/>
        </a:accent4>
        <a:accent5>
          <a:srgbClr val="B0B0B0"/>
        </a:accent5>
        <a:accent6>
          <a:srgbClr val="C4C4C4"/>
        </a:accent6>
        <a:hlink>
          <a:srgbClr val="6E6E6E"/>
        </a:hlink>
        <a:folHlink>
          <a:srgbClr val="B5B5B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blank.potx" id="{FE9ED151-8071-4DA9-B6BA-F4086A8CEF8B}" vid="{E72DC255-445A-4FC0-A22B-71EE38E4F404}"/>
    </a:ext>
  </a:extLst>
</a:theme>
</file>

<file path=ppt/theme/theme4.xml><?xml version="1.0" encoding="utf-8"?>
<a:theme xmlns:a="http://schemas.openxmlformats.org/drawingml/2006/main" name="1_Migros Vorlage Plenum">
  <a:themeElements>
    <a:clrScheme name="M-Farbwelt 2017">
      <a:dk1>
        <a:srgbClr val="000000"/>
      </a:dk1>
      <a:lt1>
        <a:srgbClr val="FFFFFF"/>
      </a:lt1>
      <a:dk2>
        <a:srgbClr val="BCA89E"/>
      </a:dk2>
      <a:lt2>
        <a:srgbClr val="EAEAEA"/>
      </a:lt2>
      <a:accent1>
        <a:srgbClr val="FF6600"/>
      </a:accent1>
      <a:accent2>
        <a:srgbClr val="FFC000"/>
      </a:accent2>
      <a:accent3>
        <a:srgbClr val="C00000"/>
      </a:accent3>
      <a:accent4>
        <a:srgbClr val="3BA71C"/>
      </a:accent4>
      <a:accent5>
        <a:srgbClr val="18498C"/>
      </a:accent5>
      <a:accent6>
        <a:srgbClr val="00AECF"/>
      </a:accent6>
      <a:hlink>
        <a:srgbClr val="0000CD"/>
      </a:hlink>
      <a:folHlink>
        <a:srgbClr val="0000CD"/>
      </a:folHlink>
    </a:clrScheme>
    <a:fontScheme name="_Praesentation_PPT_Vorlage_D_1_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12700">
          <a:noFill/>
          <a:miter lim="800000"/>
          <a:headEnd/>
          <a:tailEnd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Clr>
            <a:schemeClr val="accent1"/>
          </a:buClr>
          <a:defRPr sz="1600" b="1" dirty="0" smtClean="0"/>
        </a:defPPr>
      </a:lstStyle>
    </a:spDef>
    <a:lnDef>
      <a:spPr>
        <a:ln w="12700"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</a:spPr>
      <a:bodyPr wrap="square" lIns="36000" tIns="0" rIns="36000" bIns="0" rtlCol="0">
        <a:spAutoFit/>
      </a:bodyPr>
      <a:lstStyle>
        <a:defPPr marL="180975" indent="-180975">
          <a:spcAft>
            <a:spcPts val="0"/>
          </a:spcAft>
          <a:buClr>
            <a:schemeClr val="accent1"/>
          </a:buClr>
          <a:buFont typeface="Arial" panose="020B0604020202020204" pitchFamily="34" charset="0"/>
          <a:buChar char="•"/>
          <a:defRPr sz="1600" kern="0" dirty="0" err="1" smtClean="0">
            <a:solidFill>
              <a:srgbClr val="000000"/>
            </a:solidFill>
            <a:latin typeface="Arial"/>
          </a:defRPr>
        </a:defPPr>
      </a:lstStyle>
    </a:txDef>
  </a:objectDefaults>
  <a:extraClrSchemeLst>
    <a:extraClrScheme>
      <a:clrScheme name="_Praesentation_PPT_Vorlage_D_1_14 1">
        <a:dk1>
          <a:srgbClr val="000000"/>
        </a:dk1>
        <a:lt1>
          <a:srgbClr val="FFFFFF"/>
        </a:lt1>
        <a:dk2>
          <a:srgbClr val="FF6600"/>
        </a:dk2>
        <a:lt2>
          <a:srgbClr val="CFBFB8"/>
        </a:lt2>
        <a:accent1>
          <a:srgbClr val="FFE67F"/>
        </a:accent1>
        <a:accent2>
          <a:srgbClr val="FFB300"/>
        </a:accent2>
        <a:accent3>
          <a:srgbClr val="FFFFFF"/>
        </a:accent3>
        <a:accent4>
          <a:srgbClr val="000000"/>
        </a:accent4>
        <a:accent5>
          <a:srgbClr val="FFF0C0"/>
        </a:accent5>
        <a:accent6>
          <a:srgbClr val="E7A200"/>
        </a:accent6>
        <a:hlink>
          <a:srgbClr val="FF660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_Praesentation_PPT_Vorlage_D_1_14 2">
        <a:dk1>
          <a:srgbClr val="000000"/>
        </a:dk1>
        <a:lt1>
          <a:srgbClr val="FFFFFF"/>
        </a:lt1>
        <a:dk2>
          <a:srgbClr val="000000"/>
        </a:dk2>
        <a:lt2>
          <a:srgbClr val="919191"/>
        </a:lt2>
        <a:accent1>
          <a:srgbClr val="464646"/>
        </a:accent1>
        <a:accent2>
          <a:srgbClr val="D9D9D9"/>
        </a:accent2>
        <a:accent3>
          <a:srgbClr val="FFFFFF"/>
        </a:accent3>
        <a:accent4>
          <a:srgbClr val="000000"/>
        </a:accent4>
        <a:accent5>
          <a:srgbClr val="B0B0B0"/>
        </a:accent5>
        <a:accent6>
          <a:srgbClr val="C4C4C4"/>
        </a:accent6>
        <a:hlink>
          <a:srgbClr val="6E6E6E"/>
        </a:hlink>
        <a:folHlink>
          <a:srgbClr val="B5B5B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blank.potx" id="{FE9ED151-8071-4DA9-B6BA-F4086A8CEF8B}" vid="{E72DC255-445A-4FC0-A22B-71EE38E4F404}"/>
    </a:ext>
  </a:extLst>
</a:theme>
</file>

<file path=ppt/theme/theme5.xml><?xml version="1.0" encoding="utf-8"?>
<a:theme xmlns:a="http://schemas.openxmlformats.org/drawingml/2006/main" name="4_Migros Vorlage Plenum">
  <a:themeElements>
    <a:clrScheme name="M-Farbwelt 2017">
      <a:dk1>
        <a:srgbClr val="000000"/>
      </a:dk1>
      <a:lt1>
        <a:srgbClr val="FFFFFF"/>
      </a:lt1>
      <a:dk2>
        <a:srgbClr val="BCA89E"/>
      </a:dk2>
      <a:lt2>
        <a:srgbClr val="EAEAEA"/>
      </a:lt2>
      <a:accent1>
        <a:srgbClr val="FF6600"/>
      </a:accent1>
      <a:accent2>
        <a:srgbClr val="FFC000"/>
      </a:accent2>
      <a:accent3>
        <a:srgbClr val="C00000"/>
      </a:accent3>
      <a:accent4>
        <a:srgbClr val="3BA71C"/>
      </a:accent4>
      <a:accent5>
        <a:srgbClr val="18498C"/>
      </a:accent5>
      <a:accent6>
        <a:srgbClr val="00AECF"/>
      </a:accent6>
      <a:hlink>
        <a:srgbClr val="0000CD"/>
      </a:hlink>
      <a:folHlink>
        <a:srgbClr val="0000CD"/>
      </a:folHlink>
    </a:clrScheme>
    <a:fontScheme name="_Praesentation_PPT_Vorlage_D_1_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12700">
          <a:noFill/>
          <a:miter lim="800000"/>
          <a:headEnd/>
          <a:tailEnd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Clr>
            <a:schemeClr val="accent1"/>
          </a:buClr>
          <a:defRPr sz="1600" b="1" dirty="0" smtClean="0"/>
        </a:defPPr>
      </a:lstStyle>
    </a:spDef>
    <a:lnDef>
      <a:spPr>
        <a:ln w="12700"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</a:spPr>
      <a:bodyPr wrap="square" lIns="36000" tIns="0" rIns="36000" bIns="0" rtlCol="0">
        <a:spAutoFit/>
      </a:bodyPr>
      <a:lstStyle>
        <a:defPPr marL="180975" indent="-180975">
          <a:spcAft>
            <a:spcPts val="0"/>
          </a:spcAft>
          <a:buClr>
            <a:schemeClr val="accent1"/>
          </a:buClr>
          <a:buFont typeface="Arial" panose="020B0604020202020204" pitchFamily="34" charset="0"/>
          <a:buChar char="•"/>
          <a:defRPr sz="1600" kern="0" dirty="0" err="1" smtClean="0">
            <a:solidFill>
              <a:srgbClr val="000000"/>
            </a:solidFill>
            <a:latin typeface="Arial"/>
          </a:defRPr>
        </a:defPPr>
      </a:lstStyle>
    </a:txDef>
  </a:objectDefaults>
  <a:extraClrSchemeLst>
    <a:extraClrScheme>
      <a:clrScheme name="_Praesentation_PPT_Vorlage_D_1_14 1">
        <a:dk1>
          <a:srgbClr val="000000"/>
        </a:dk1>
        <a:lt1>
          <a:srgbClr val="FFFFFF"/>
        </a:lt1>
        <a:dk2>
          <a:srgbClr val="FF6600"/>
        </a:dk2>
        <a:lt2>
          <a:srgbClr val="CFBFB8"/>
        </a:lt2>
        <a:accent1>
          <a:srgbClr val="FFE67F"/>
        </a:accent1>
        <a:accent2>
          <a:srgbClr val="FFB300"/>
        </a:accent2>
        <a:accent3>
          <a:srgbClr val="FFFFFF"/>
        </a:accent3>
        <a:accent4>
          <a:srgbClr val="000000"/>
        </a:accent4>
        <a:accent5>
          <a:srgbClr val="FFF0C0"/>
        </a:accent5>
        <a:accent6>
          <a:srgbClr val="E7A200"/>
        </a:accent6>
        <a:hlink>
          <a:srgbClr val="FF660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_Praesentation_PPT_Vorlage_D_1_14 2">
        <a:dk1>
          <a:srgbClr val="000000"/>
        </a:dk1>
        <a:lt1>
          <a:srgbClr val="FFFFFF"/>
        </a:lt1>
        <a:dk2>
          <a:srgbClr val="000000"/>
        </a:dk2>
        <a:lt2>
          <a:srgbClr val="919191"/>
        </a:lt2>
        <a:accent1>
          <a:srgbClr val="464646"/>
        </a:accent1>
        <a:accent2>
          <a:srgbClr val="D9D9D9"/>
        </a:accent2>
        <a:accent3>
          <a:srgbClr val="FFFFFF"/>
        </a:accent3>
        <a:accent4>
          <a:srgbClr val="000000"/>
        </a:accent4>
        <a:accent5>
          <a:srgbClr val="B0B0B0"/>
        </a:accent5>
        <a:accent6>
          <a:srgbClr val="C4C4C4"/>
        </a:accent6>
        <a:hlink>
          <a:srgbClr val="6E6E6E"/>
        </a:hlink>
        <a:folHlink>
          <a:srgbClr val="B5B5B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blank.potx" id="{FE9ED151-8071-4DA9-B6BA-F4086A8CEF8B}" vid="{E72DC255-445A-4FC0-A22B-71EE38E4F404}"/>
    </a:ext>
  </a:extLst>
</a:theme>
</file>

<file path=ppt/theme/theme6.xml><?xml version="1.0" encoding="utf-8"?>
<a:theme xmlns:a="http://schemas.openxmlformats.org/drawingml/2006/main" name="5_Migros Vorlage Plenum">
  <a:themeElements>
    <a:clrScheme name="M-Farbwelt 2017">
      <a:dk1>
        <a:srgbClr val="000000"/>
      </a:dk1>
      <a:lt1>
        <a:srgbClr val="FFFFFF"/>
      </a:lt1>
      <a:dk2>
        <a:srgbClr val="BCA89E"/>
      </a:dk2>
      <a:lt2>
        <a:srgbClr val="EAEAEA"/>
      </a:lt2>
      <a:accent1>
        <a:srgbClr val="FF6600"/>
      </a:accent1>
      <a:accent2>
        <a:srgbClr val="FFC000"/>
      </a:accent2>
      <a:accent3>
        <a:srgbClr val="C00000"/>
      </a:accent3>
      <a:accent4>
        <a:srgbClr val="3BA71C"/>
      </a:accent4>
      <a:accent5>
        <a:srgbClr val="18498C"/>
      </a:accent5>
      <a:accent6>
        <a:srgbClr val="00AECF"/>
      </a:accent6>
      <a:hlink>
        <a:srgbClr val="0000CD"/>
      </a:hlink>
      <a:folHlink>
        <a:srgbClr val="0000CD"/>
      </a:folHlink>
    </a:clrScheme>
    <a:fontScheme name="_Praesentation_PPT_Vorlage_D_1_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12700">
          <a:noFill/>
          <a:miter lim="800000"/>
          <a:headEnd/>
          <a:tailEnd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Clr>
            <a:schemeClr val="accent1"/>
          </a:buClr>
          <a:defRPr sz="1600" b="1" dirty="0" smtClean="0"/>
        </a:defPPr>
      </a:lstStyle>
    </a:spDef>
    <a:lnDef>
      <a:spPr>
        <a:ln w="12700"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</a:spPr>
      <a:bodyPr wrap="square" lIns="36000" tIns="0" rIns="36000" bIns="0" rtlCol="0">
        <a:spAutoFit/>
      </a:bodyPr>
      <a:lstStyle>
        <a:defPPr marL="180975" indent="-180975">
          <a:spcAft>
            <a:spcPts val="0"/>
          </a:spcAft>
          <a:buClr>
            <a:schemeClr val="accent1"/>
          </a:buClr>
          <a:buFont typeface="Arial" panose="020B0604020202020204" pitchFamily="34" charset="0"/>
          <a:buChar char="•"/>
          <a:defRPr sz="1600" kern="0" dirty="0" err="1" smtClean="0">
            <a:solidFill>
              <a:srgbClr val="000000"/>
            </a:solidFill>
            <a:latin typeface="Arial"/>
          </a:defRPr>
        </a:defPPr>
      </a:lstStyle>
    </a:txDef>
  </a:objectDefaults>
  <a:extraClrSchemeLst>
    <a:extraClrScheme>
      <a:clrScheme name="_Praesentation_PPT_Vorlage_D_1_14 1">
        <a:dk1>
          <a:srgbClr val="000000"/>
        </a:dk1>
        <a:lt1>
          <a:srgbClr val="FFFFFF"/>
        </a:lt1>
        <a:dk2>
          <a:srgbClr val="FF6600"/>
        </a:dk2>
        <a:lt2>
          <a:srgbClr val="CFBFB8"/>
        </a:lt2>
        <a:accent1>
          <a:srgbClr val="FFE67F"/>
        </a:accent1>
        <a:accent2>
          <a:srgbClr val="FFB300"/>
        </a:accent2>
        <a:accent3>
          <a:srgbClr val="FFFFFF"/>
        </a:accent3>
        <a:accent4>
          <a:srgbClr val="000000"/>
        </a:accent4>
        <a:accent5>
          <a:srgbClr val="FFF0C0"/>
        </a:accent5>
        <a:accent6>
          <a:srgbClr val="E7A200"/>
        </a:accent6>
        <a:hlink>
          <a:srgbClr val="FF660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_Praesentation_PPT_Vorlage_D_1_14 2">
        <a:dk1>
          <a:srgbClr val="000000"/>
        </a:dk1>
        <a:lt1>
          <a:srgbClr val="FFFFFF"/>
        </a:lt1>
        <a:dk2>
          <a:srgbClr val="000000"/>
        </a:dk2>
        <a:lt2>
          <a:srgbClr val="919191"/>
        </a:lt2>
        <a:accent1>
          <a:srgbClr val="464646"/>
        </a:accent1>
        <a:accent2>
          <a:srgbClr val="D9D9D9"/>
        </a:accent2>
        <a:accent3>
          <a:srgbClr val="FFFFFF"/>
        </a:accent3>
        <a:accent4>
          <a:srgbClr val="000000"/>
        </a:accent4>
        <a:accent5>
          <a:srgbClr val="B0B0B0"/>
        </a:accent5>
        <a:accent6>
          <a:srgbClr val="C4C4C4"/>
        </a:accent6>
        <a:hlink>
          <a:srgbClr val="6E6E6E"/>
        </a:hlink>
        <a:folHlink>
          <a:srgbClr val="B5B5B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blank.potx" id="{FE9ED151-8071-4DA9-B6BA-F4086A8CEF8B}" vid="{E72DC255-445A-4FC0-A22B-71EE38E4F404}"/>
    </a:ext>
  </a:extLst>
</a:theme>
</file>

<file path=ppt/theme/theme7.xml><?xml version="1.0" encoding="utf-8"?>
<a:theme xmlns:a="http://schemas.openxmlformats.org/drawingml/2006/main" name="6_Migros Vorlage Plenum">
  <a:themeElements>
    <a:clrScheme name="M-Farbwelt 2017">
      <a:dk1>
        <a:srgbClr val="000000"/>
      </a:dk1>
      <a:lt1>
        <a:srgbClr val="FFFFFF"/>
      </a:lt1>
      <a:dk2>
        <a:srgbClr val="BCA89E"/>
      </a:dk2>
      <a:lt2>
        <a:srgbClr val="EAEAEA"/>
      </a:lt2>
      <a:accent1>
        <a:srgbClr val="FF6600"/>
      </a:accent1>
      <a:accent2>
        <a:srgbClr val="FFC000"/>
      </a:accent2>
      <a:accent3>
        <a:srgbClr val="C00000"/>
      </a:accent3>
      <a:accent4>
        <a:srgbClr val="3BA71C"/>
      </a:accent4>
      <a:accent5>
        <a:srgbClr val="18498C"/>
      </a:accent5>
      <a:accent6>
        <a:srgbClr val="00AECF"/>
      </a:accent6>
      <a:hlink>
        <a:srgbClr val="0000CD"/>
      </a:hlink>
      <a:folHlink>
        <a:srgbClr val="0000CD"/>
      </a:folHlink>
    </a:clrScheme>
    <a:fontScheme name="_Praesentation_PPT_Vorlage_D_1_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12700">
          <a:noFill/>
          <a:miter lim="800000"/>
          <a:headEnd/>
          <a:tailEnd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Clr>
            <a:schemeClr val="accent1"/>
          </a:buClr>
          <a:defRPr sz="1600" b="1" dirty="0" smtClean="0"/>
        </a:defPPr>
      </a:lstStyle>
    </a:spDef>
    <a:lnDef>
      <a:spPr>
        <a:ln w="12700"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</a:spPr>
      <a:bodyPr wrap="square" lIns="36000" tIns="0" rIns="36000" bIns="0" rtlCol="0">
        <a:spAutoFit/>
      </a:bodyPr>
      <a:lstStyle>
        <a:defPPr marL="180975" indent="-180975">
          <a:spcAft>
            <a:spcPts val="0"/>
          </a:spcAft>
          <a:buClr>
            <a:schemeClr val="accent1"/>
          </a:buClr>
          <a:buFont typeface="Arial" panose="020B0604020202020204" pitchFamily="34" charset="0"/>
          <a:buChar char="•"/>
          <a:defRPr sz="1600" kern="0" dirty="0" err="1" smtClean="0">
            <a:solidFill>
              <a:srgbClr val="000000"/>
            </a:solidFill>
            <a:latin typeface="Arial"/>
          </a:defRPr>
        </a:defPPr>
      </a:lstStyle>
    </a:txDef>
  </a:objectDefaults>
  <a:extraClrSchemeLst>
    <a:extraClrScheme>
      <a:clrScheme name="_Praesentation_PPT_Vorlage_D_1_14 1">
        <a:dk1>
          <a:srgbClr val="000000"/>
        </a:dk1>
        <a:lt1>
          <a:srgbClr val="FFFFFF"/>
        </a:lt1>
        <a:dk2>
          <a:srgbClr val="FF6600"/>
        </a:dk2>
        <a:lt2>
          <a:srgbClr val="CFBFB8"/>
        </a:lt2>
        <a:accent1>
          <a:srgbClr val="FFE67F"/>
        </a:accent1>
        <a:accent2>
          <a:srgbClr val="FFB300"/>
        </a:accent2>
        <a:accent3>
          <a:srgbClr val="FFFFFF"/>
        </a:accent3>
        <a:accent4>
          <a:srgbClr val="000000"/>
        </a:accent4>
        <a:accent5>
          <a:srgbClr val="FFF0C0"/>
        </a:accent5>
        <a:accent6>
          <a:srgbClr val="E7A200"/>
        </a:accent6>
        <a:hlink>
          <a:srgbClr val="FF660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_Praesentation_PPT_Vorlage_D_1_14 2">
        <a:dk1>
          <a:srgbClr val="000000"/>
        </a:dk1>
        <a:lt1>
          <a:srgbClr val="FFFFFF"/>
        </a:lt1>
        <a:dk2>
          <a:srgbClr val="000000"/>
        </a:dk2>
        <a:lt2>
          <a:srgbClr val="919191"/>
        </a:lt2>
        <a:accent1>
          <a:srgbClr val="464646"/>
        </a:accent1>
        <a:accent2>
          <a:srgbClr val="D9D9D9"/>
        </a:accent2>
        <a:accent3>
          <a:srgbClr val="FFFFFF"/>
        </a:accent3>
        <a:accent4>
          <a:srgbClr val="000000"/>
        </a:accent4>
        <a:accent5>
          <a:srgbClr val="B0B0B0"/>
        </a:accent5>
        <a:accent6>
          <a:srgbClr val="C4C4C4"/>
        </a:accent6>
        <a:hlink>
          <a:srgbClr val="6E6E6E"/>
        </a:hlink>
        <a:folHlink>
          <a:srgbClr val="B5B5B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blank.potx" id="{FE9ED151-8071-4DA9-B6BA-F4086A8CEF8B}" vid="{E72DC255-445A-4FC0-A22B-71EE38E4F404}"/>
    </a:ext>
  </a:extLst>
</a:theme>
</file>

<file path=ppt/theme/theme8.xml><?xml version="1.0" encoding="utf-8"?>
<a:theme xmlns:a="http://schemas.openxmlformats.org/drawingml/2006/main" name="2_Migros Vorlage Plenum">
  <a:themeElements>
    <a:clrScheme name="M-Farbwelt 2017">
      <a:dk1>
        <a:srgbClr val="000000"/>
      </a:dk1>
      <a:lt1>
        <a:srgbClr val="FFFFFF"/>
      </a:lt1>
      <a:dk2>
        <a:srgbClr val="BCA89E"/>
      </a:dk2>
      <a:lt2>
        <a:srgbClr val="EAEAEA"/>
      </a:lt2>
      <a:accent1>
        <a:srgbClr val="FF6600"/>
      </a:accent1>
      <a:accent2>
        <a:srgbClr val="FFC000"/>
      </a:accent2>
      <a:accent3>
        <a:srgbClr val="C00000"/>
      </a:accent3>
      <a:accent4>
        <a:srgbClr val="3BA71C"/>
      </a:accent4>
      <a:accent5>
        <a:srgbClr val="18498C"/>
      </a:accent5>
      <a:accent6>
        <a:srgbClr val="00AECF"/>
      </a:accent6>
      <a:hlink>
        <a:srgbClr val="0000CD"/>
      </a:hlink>
      <a:folHlink>
        <a:srgbClr val="0000CD"/>
      </a:folHlink>
    </a:clrScheme>
    <a:fontScheme name="_Praesentation_PPT_Vorlage_D_1_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12700">
          <a:noFill/>
          <a:miter lim="800000"/>
          <a:headEnd/>
          <a:tailEnd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Clr>
            <a:schemeClr val="accent1"/>
          </a:buClr>
          <a:defRPr sz="1600" b="1" dirty="0" smtClean="0"/>
        </a:defPPr>
      </a:lstStyle>
    </a:spDef>
    <a:lnDef>
      <a:spPr>
        <a:ln w="12700"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</a:spPr>
      <a:bodyPr wrap="square" lIns="36000" tIns="0" rIns="36000" bIns="0" rtlCol="0">
        <a:spAutoFit/>
      </a:bodyPr>
      <a:lstStyle>
        <a:defPPr marL="180975" indent="-180975">
          <a:spcAft>
            <a:spcPts val="0"/>
          </a:spcAft>
          <a:buClr>
            <a:schemeClr val="accent1"/>
          </a:buClr>
          <a:buFont typeface="Arial" panose="020B0604020202020204" pitchFamily="34" charset="0"/>
          <a:buChar char="•"/>
          <a:defRPr sz="1600" kern="0" dirty="0" err="1" smtClean="0">
            <a:solidFill>
              <a:srgbClr val="000000"/>
            </a:solidFill>
            <a:latin typeface="Arial"/>
          </a:defRPr>
        </a:defPPr>
      </a:lstStyle>
    </a:txDef>
  </a:objectDefaults>
  <a:extraClrSchemeLst>
    <a:extraClrScheme>
      <a:clrScheme name="_Praesentation_PPT_Vorlage_D_1_14 1">
        <a:dk1>
          <a:srgbClr val="000000"/>
        </a:dk1>
        <a:lt1>
          <a:srgbClr val="FFFFFF"/>
        </a:lt1>
        <a:dk2>
          <a:srgbClr val="FF6600"/>
        </a:dk2>
        <a:lt2>
          <a:srgbClr val="CFBFB8"/>
        </a:lt2>
        <a:accent1>
          <a:srgbClr val="FFE67F"/>
        </a:accent1>
        <a:accent2>
          <a:srgbClr val="FFB300"/>
        </a:accent2>
        <a:accent3>
          <a:srgbClr val="FFFFFF"/>
        </a:accent3>
        <a:accent4>
          <a:srgbClr val="000000"/>
        </a:accent4>
        <a:accent5>
          <a:srgbClr val="FFF0C0"/>
        </a:accent5>
        <a:accent6>
          <a:srgbClr val="E7A200"/>
        </a:accent6>
        <a:hlink>
          <a:srgbClr val="FF660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_Praesentation_PPT_Vorlage_D_1_14 2">
        <a:dk1>
          <a:srgbClr val="000000"/>
        </a:dk1>
        <a:lt1>
          <a:srgbClr val="FFFFFF"/>
        </a:lt1>
        <a:dk2>
          <a:srgbClr val="000000"/>
        </a:dk2>
        <a:lt2>
          <a:srgbClr val="919191"/>
        </a:lt2>
        <a:accent1>
          <a:srgbClr val="464646"/>
        </a:accent1>
        <a:accent2>
          <a:srgbClr val="D9D9D9"/>
        </a:accent2>
        <a:accent3>
          <a:srgbClr val="FFFFFF"/>
        </a:accent3>
        <a:accent4>
          <a:srgbClr val="000000"/>
        </a:accent4>
        <a:accent5>
          <a:srgbClr val="B0B0B0"/>
        </a:accent5>
        <a:accent6>
          <a:srgbClr val="C4C4C4"/>
        </a:accent6>
        <a:hlink>
          <a:srgbClr val="6E6E6E"/>
        </a:hlink>
        <a:folHlink>
          <a:srgbClr val="B5B5B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blank.potx" id="{FE9ED151-8071-4DA9-B6BA-F4086A8CEF8B}" vid="{E72DC255-445A-4FC0-A22B-71EE38E4F404}"/>
    </a:ext>
  </a:extLst>
</a:theme>
</file>

<file path=ppt/theme/theme9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fd7d0697-204f-41a7-a401-bc2fe07f8fc6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B7B48C2D621234B99F5D72BF3FA0A84" ma:contentTypeVersion="16" ma:contentTypeDescription="Create a new document." ma:contentTypeScope="" ma:versionID="0b8efb71e5324937afbd6de88945fa79">
  <xsd:schema xmlns:xsd="http://www.w3.org/2001/XMLSchema" xmlns:xs="http://www.w3.org/2001/XMLSchema" xmlns:p="http://schemas.microsoft.com/office/2006/metadata/properties" xmlns:ns3="fd7d0697-204f-41a7-a401-bc2fe07f8fc6" xmlns:ns4="850488fd-1aee-4a4a-b8d0-66db81e5bc4d" targetNamespace="http://schemas.microsoft.com/office/2006/metadata/properties" ma:root="true" ma:fieldsID="b6ea1bc245a2ba3b0db00f696fee5fee" ns3:_="" ns4:_="">
    <xsd:import namespace="fd7d0697-204f-41a7-a401-bc2fe07f8fc6"/>
    <xsd:import namespace="850488fd-1aee-4a4a-b8d0-66db81e5bc4d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ObjectDetectorVersions" minOccurs="0"/>
                <xsd:element ref="ns3:MediaServiceSystem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SearchProperties" minOccurs="0"/>
                <xsd:element ref="ns3:MediaServiceDateTaken" minOccurs="0"/>
                <xsd:element ref="ns3:MediaLengthInSeconds" minOccurs="0"/>
                <xsd:element ref="ns3:MediaServiceLocation" minOccurs="0"/>
                <xsd:element ref="ns3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7d0697-204f-41a7-a401-bc2fe07f8fc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11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_activity" ma:index="15" nillable="true" ma:displayName="_activity" ma:hidden="true" ma:internalName="_activity">
      <xsd:simpleType>
        <xsd:restriction base="dms:Note"/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2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50488fd-1aee-4a4a-b8d0-66db81e5bc4d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73A0FE5-E9AE-464A-A39A-B1BD9228E08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E02CA2F-A276-4CDF-A532-29BA6EC5E68A}">
  <ds:schemaRefs>
    <ds:schemaRef ds:uri="http://purl.org/dc/elements/1.1/"/>
    <ds:schemaRef ds:uri="http://schemas.microsoft.com/office/2006/documentManagement/types"/>
    <ds:schemaRef ds:uri="fd7d0697-204f-41a7-a401-bc2fe07f8fc6"/>
    <ds:schemaRef ds:uri="http://schemas.openxmlformats.org/package/2006/metadata/core-properties"/>
    <ds:schemaRef ds:uri="http://purl.org/dc/dcmitype/"/>
    <ds:schemaRef ds:uri="850488fd-1aee-4a4a-b8d0-66db81e5bc4d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8CF00A92-1BF0-425A-9279-7050D48883D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d7d0697-204f-41a7-a401-bc2fe07f8fc6"/>
    <ds:schemaRef ds:uri="850488fd-1aee-4a4a-b8d0-66db81e5bc4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4bad0d50-9cbb-471c-bae7-38b20ec0f1f9}" enabled="1" method="Standard" siteId="{35aa8c5b-ac0a-4b15-9788-ff6dfa22901f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</TotalTime>
  <Words>350</Words>
  <Application>Microsoft Office PowerPoint</Application>
  <PresentationFormat>Personnalisé</PresentationFormat>
  <Paragraphs>92</Paragraphs>
  <Slides>7</Slides>
  <Notes>7</Notes>
  <HiddenSlides>0</HiddenSlides>
  <MMClips>0</MMClips>
  <ScaleCrop>false</ScaleCrop>
  <HeadingPairs>
    <vt:vector size="8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8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7</vt:i4>
      </vt:variant>
    </vt:vector>
  </HeadingPairs>
  <TitlesOfParts>
    <vt:vector size="23" baseType="lpstr">
      <vt:lpstr>Arial Unicode MS</vt:lpstr>
      <vt:lpstr>Aptos</vt:lpstr>
      <vt:lpstr>Arial</vt:lpstr>
      <vt:lpstr>Calibri</vt:lpstr>
      <vt:lpstr>Courier New</vt:lpstr>
      <vt:lpstr>Times</vt:lpstr>
      <vt:lpstr>Wingdings</vt:lpstr>
      <vt:lpstr>Office Theme</vt:lpstr>
      <vt:lpstr>Migros Vorlage Plenum</vt:lpstr>
      <vt:lpstr>10_Migros Vorlage Plenum</vt:lpstr>
      <vt:lpstr>1_Migros Vorlage Plenum</vt:lpstr>
      <vt:lpstr>4_Migros Vorlage Plenum</vt:lpstr>
      <vt:lpstr>5_Migros Vorlage Plenum</vt:lpstr>
      <vt:lpstr>6_Migros Vorlage Plenum</vt:lpstr>
      <vt:lpstr>2_Migros Vorlage Plenum</vt:lpstr>
      <vt:lpstr>Diapositive think-cell</vt:lpstr>
      <vt:lpstr>Migros Genève :  construire une culture de santé durable au travail Entreprise labellisée Friendly Work space  21 novembre 2025</vt:lpstr>
      <vt:lpstr>Présentation PowerPoint</vt:lpstr>
      <vt:lpstr>Présentation PowerPoint</vt:lpstr>
      <vt:lpstr>Notre approche Friendly Work Space Une démarche structurée et collective pour une amélioration continue</vt:lpstr>
      <vt:lpstr>Outils et mesures concrètes</vt:lpstr>
      <vt:lpstr>Résultats &amp; bénéfices Un engagement reconnu pour la santé, l’inclusion et la performance durable</vt:lpstr>
      <vt:lpstr>Se challenger pour un environnement sain et durabl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quête Engagement 25 Comprendre aujourd’hui pour engager demain  CA – 8 octobre 2025</dc:title>
  <dc:creator>Gaudelus, Stéphanie-GMGE</dc:creator>
  <cp:lastModifiedBy>Krattiger, Lynn-GMGE</cp:lastModifiedBy>
  <cp:revision>332</cp:revision>
  <cp:lastPrinted>2025-03-03T17:30:52Z</cp:lastPrinted>
  <dcterms:created xsi:type="dcterms:W3CDTF">2025-02-26T06:49:29Z</dcterms:created>
  <dcterms:modified xsi:type="dcterms:W3CDTF">2025-11-19T08:18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5-02-26T00:00:00Z</vt:filetime>
  </property>
  <property fmtid="{D5CDD505-2E9C-101B-9397-08002B2CF9AE}" pid="3" name="Creator">
    <vt:lpwstr>Adobe InDesign 20.0 (Macintosh)</vt:lpwstr>
  </property>
  <property fmtid="{D5CDD505-2E9C-101B-9397-08002B2CF9AE}" pid="4" name="LastSaved">
    <vt:filetime>2025-02-26T00:00:00Z</vt:filetime>
  </property>
  <property fmtid="{D5CDD505-2E9C-101B-9397-08002B2CF9AE}" pid="5" name="Producer">
    <vt:lpwstr>Adobe PDF Library 17.0</vt:lpwstr>
  </property>
  <property fmtid="{D5CDD505-2E9C-101B-9397-08002B2CF9AE}" pid="6" name="ContentTypeId">
    <vt:lpwstr>0x0101003B7B48C2D621234B99F5D72BF3FA0A84</vt:lpwstr>
  </property>
  <property fmtid="{D5CDD505-2E9C-101B-9397-08002B2CF9AE}" pid="7" name="_dlc_DocIdItemGuid">
    <vt:lpwstr>94979c98-905c-4759-85d1-0e1d9d9060fb</vt:lpwstr>
  </property>
  <property fmtid="{D5CDD505-2E9C-101B-9397-08002B2CF9AE}" pid="8" name="MediaServiceImageTags">
    <vt:lpwstr/>
  </property>
  <property fmtid="{D5CDD505-2E9C-101B-9397-08002B2CF9AE}" pid="9" name="bsoneLanguages">
    <vt:lpwstr/>
  </property>
  <property fmtid="{D5CDD505-2E9C-101B-9397-08002B2CF9AE}" pid="10" name="bsoneInformationChannels">
    <vt:lpwstr/>
  </property>
  <property fmtid="{D5CDD505-2E9C-101B-9397-08002B2CF9AE}" pid="11" name="bsoneDepartment">
    <vt:lpwstr/>
  </property>
  <property fmtid="{D5CDD505-2E9C-101B-9397-08002B2CF9AE}" pid="12" name="bsoneInformationType">
    <vt:lpwstr/>
  </property>
  <property fmtid="{D5CDD505-2E9C-101B-9397-08002B2CF9AE}" pid="13" name="bsoneInformationTopics">
    <vt:lpwstr/>
  </property>
  <property fmtid="{D5CDD505-2E9C-101B-9397-08002B2CF9AE}" pid="14" name="bsoneDocumentType">
    <vt:lpwstr/>
  </property>
  <property fmtid="{D5CDD505-2E9C-101B-9397-08002B2CF9AE}" pid="15" name="bsoneLegalEntity">
    <vt:lpwstr/>
  </property>
  <property fmtid="{D5CDD505-2E9C-101B-9397-08002B2CF9AE}" pid="16" name="bsoneCostCenter">
    <vt:lpwstr>5;#5890 - Transformation SI (0040000)|68b198cf-f80b-4a19-81e6-b8a54ebfdc81</vt:lpwstr>
  </property>
  <property fmtid="{D5CDD505-2E9C-101B-9397-08002B2CF9AE}" pid="17" name="xd_ProgID">
    <vt:lpwstr/>
  </property>
  <property fmtid="{D5CDD505-2E9C-101B-9397-08002B2CF9AE}" pid="18" name="ComplianceAssetId">
    <vt:lpwstr/>
  </property>
  <property fmtid="{D5CDD505-2E9C-101B-9397-08002B2CF9AE}" pid="19" name="TemplateUrl">
    <vt:lpwstr/>
  </property>
  <property fmtid="{D5CDD505-2E9C-101B-9397-08002B2CF9AE}" pid="20" name="_ExtendedDescription">
    <vt:lpwstr/>
  </property>
  <property fmtid="{D5CDD505-2E9C-101B-9397-08002B2CF9AE}" pid="21" name="xd_Signature">
    <vt:lpwstr/>
  </property>
  <property fmtid="{D5CDD505-2E9C-101B-9397-08002B2CF9AE}" pid="22" name="TriggerFlowInfo">
    <vt:lpwstr/>
  </property>
</Properties>
</file>